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2.xml" ContentType="application/vnd.openxmlformats-officedocument.presentationml.tags+xml"/>
  <Override PartName="/ppt/notesSlides/notesSlide1.xml" ContentType="application/vnd.openxmlformats-officedocument.presentationml.notesSlide+xml"/>
  <Override PartName="/ppt/tags/tag133.xml" ContentType="application/vnd.openxmlformats-officedocument.presentationml.tags+xml"/>
  <Override PartName="/ppt/notesSlides/notesSlide2.xml" ContentType="application/vnd.openxmlformats-officedocument.presentationml.notesSlide+xml"/>
  <Override PartName="/ppt/tags/tag134.xml" ContentType="application/vnd.openxmlformats-officedocument.presentationml.tags+xml"/>
  <Override PartName="/ppt/notesSlides/notesSlide3.xml" ContentType="application/vnd.openxmlformats-officedocument.presentationml.notesSlide+xml"/>
  <Override PartName="/ppt/tags/tag13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1.xml" ContentType="application/vnd.openxmlformats-officedocument.presentationml.notesSlide+xml"/>
  <Override PartName="/ppt/tags/tag14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9" r:id="rId24"/>
  </p:sldMasterIdLst>
  <p:notesMasterIdLst>
    <p:notesMasterId r:id="rId38"/>
  </p:notesMasterIdLst>
  <p:handoutMasterIdLst>
    <p:handoutMasterId r:id="rId39"/>
  </p:handoutMasterIdLst>
  <p:sldIdLst>
    <p:sldId id="1256" r:id="rId25"/>
    <p:sldId id="1272" r:id="rId26"/>
    <p:sldId id="1276" r:id="rId27"/>
    <p:sldId id="1277" r:id="rId28"/>
    <p:sldId id="1281" r:id="rId29"/>
    <p:sldId id="1280" r:id="rId30"/>
    <p:sldId id="1274" r:id="rId31"/>
    <p:sldId id="1282" r:id="rId32"/>
    <p:sldId id="1149" r:id="rId33"/>
    <p:sldId id="1283" r:id="rId34"/>
    <p:sldId id="1271" r:id="rId35"/>
    <p:sldId id="1275" r:id="rId36"/>
    <p:sldId id="1278" r:id="rId37"/>
  </p:sldIdLst>
  <p:sldSz cx="12198350" cy="6858000"/>
  <p:notesSz cx="6669088" cy="9926638"/>
  <p:embeddedFontLst>
    <p:embeddedFont>
      <p:font typeface="ＭＳ Ｐゴシック" panose="020B0600070205080204" pitchFamily="34" charset="-128"/>
      <p:regular r:id="rId40"/>
    </p:embeddedFont>
  </p:embeddedFontLst>
  <p:custDataLst>
    <p:custData r:id="rId4"/>
    <p:tags r:id="rId4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E519E1CE-D9EC-43CF-90F6-254BA74C2842}">
          <p14:sldIdLst>
            <p14:sldId id="1256"/>
            <p14:sldId id="1272"/>
            <p14:sldId id="1276"/>
            <p14:sldId id="1277"/>
            <p14:sldId id="1281"/>
            <p14:sldId id="1280"/>
            <p14:sldId id="1274"/>
            <p14:sldId id="1282"/>
          </p14:sldIdLst>
        </p14:section>
        <p14:section name="Einleitung" id="{6C37AD51-C850-483C-8011-E587FFCF4FAD}">
          <p14:sldIdLst/>
        </p14:section>
        <p14:section name="Hauptteil" id="{B816484E-3020-452B-A976-3D2ABEB36561}">
          <p14:sldIdLst>
            <p14:sldId id="1149"/>
            <p14:sldId id="1283"/>
            <p14:sldId id="1271"/>
            <p14:sldId id="1275"/>
            <p14:sldId id="1278"/>
          </p14:sldIdLst>
        </p14:section>
        <p14:section name="Schluss" id="{55C9DD37-043A-4BBC-97BF-19D6A586E23C}">
          <p14:sldIdLst/>
        </p14:section>
        <p14:section name="Backup" id="{32461F32-2A5A-46A5-8A6C-22DBB228D76A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D7CD"/>
    <a:srgbClr val="233746"/>
    <a:srgbClr val="323C46"/>
    <a:srgbClr val="AF235F"/>
    <a:srgbClr val="505A64"/>
    <a:srgbClr val="AAAA96"/>
    <a:srgbClr val="EBEBE3"/>
    <a:srgbClr val="FFFFFF"/>
    <a:srgbClr val="47474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62" autoAdjust="0"/>
    <p:restoredTop sz="89606" autoAdjust="0"/>
  </p:normalViewPr>
  <p:slideViewPr>
    <p:cSldViewPr snapToObjects="1" showGuides="1">
      <p:cViewPr>
        <p:scale>
          <a:sx n="80" d="100"/>
          <a:sy n="80" d="100"/>
        </p:scale>
        <p:origin x="870" y="-528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799"/>
        <p:guide pos="395"/>
        <p:guide pos="213"/>
        <p:guide pos="3842"/>
        <p:guide pos="3933"/>
        <p:guide pos="7380"/>
        <p:guide pos="5566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 showGuides="1">
      <p:cViewPr>
        <p:scale>
          <a:sx n="125" d="100"/>
          <a:sy n="125" d="100"/>
        </p:scale>
        <p:origin x="-1086" y="2538"/>
      </p:cViewPr>
      <p:guideLst>
        <p:guide orient="horz" pos="3126"/>
        <p:guide pos="2100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2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slide" Target="slides/slide10.xml"/><Relationship Id="rId42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font" Target="fonts/font1.fntdata"/><Relationship Id="rId45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7.xml"/><Relationship Id="rId44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6669088" cy="677481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7545" tIns="43772" rIns="87545" bIns="43772" anchor="ctr"/>
          <a:lstStyle/>
          <a:p>
            <a:endParaRPr lang="de-DE" dirty="0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52689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t" anchorCtr="0" compatLnSpc="1">
            <a:prstTxWarp prst="textNoShape">
              <a:avLst/>
            </a:prstTxWarp>
          </a:bodyPr>
          <a:lstStyle>
            <a:lvl1pPr defTabSz="902804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16400" y="0"/>
            <a:ext cx="305268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t" anchorCtr="0" compatLnSpc="1">
            <a:prstTxWarp prst="textNoShape">
              <a:avLst/>
            </a:prstTxWarp>
          </a:bodyPr>
          <a:lstStyle>
            <a:lvl1pPr algn="r" defTabSz="902804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90812"/>
            <a:ext cx="3052689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b" anchorCtr="0" compatLnSpc="1">
            <a:prstTxWarp prst="textNoShape">
              <a:avLst/>
            </a:prstTxWarp>
          </a:bodyPr>
          <a:lstStyle>
            <a:lvl1pPr defTabSz="902804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16400" y="9390812"/>
            <a:ext cx="3052688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b" anchorCtr="0" compatLnSpc="1">
            <a:prstTxWarp prst="textNoShape">
              <a:avLst/>
            </a:prstTxWarp>
          </a:bodyPr>
          <a:lstStyle>
            <a:lvl1pPr algn="r" defTabSz="902804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N°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52689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t" anchorCtr="0" compatLnSpc="1">
            <a:prstTxWarp prst="textNoShape">
              <a:avLst/>
            </a:prstTxWarp>
          </a:bodyPr>
          <a:lstStyle>
            <a:lvl1pPr defTabSz="902804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16401" y="0"/>
            <a:ext cx="3051197" cy="535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t" anchorCtr="0" compatLnSpc="1">
            <a:prstTxWarp prst="textNoShape">
              <a:avLst/>
            </a:prstTxWarp>
          </a:bodyPr>
          <a:lstStyle>
            <a:lvl1pPr algn="r" defTabSz="902804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400" y="744538"/>
            <a:ext cx="66198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3695" y="4677699"/>
            <a:ext cx="6221698" cy="4428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0812"/>
            <a:ext cx="3052689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b" anchorCtr="0" compatLnSpc="1">
            <a:prstTxWarp prst="textNoShape">
              <a:avLst/>
            </a:prstTxWarp>
          </a:bodyPr>
          <a:lstStyle>
            <a:lvl1pPr defTabSz="902804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16401" y="9390812"/>
            <a:ext cx="3051197" cy="53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2222" tIns="142222" rIns="142222" bIns="142222" numCol="1" anchor="b" anchorCtr="0" compatLnSpc="1">
            <a:prstTxWarp prst="textNoShape">
              <a:avLst/>
            </a:prstTxWarp>
          </a:bodyPr>
          <a:lstStyle>
            <a:lvl1pPr algn="r" defTabSz="902804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°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74814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cs typeface="Arial" pitchFamily="34" charset="0"/>
              </a:rPr>
              <a:t>How to do it digitally instead of analog</a:t>
            </a:r>
            <a:endParaRPr lang="en-US" dirty="0"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741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1650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ichard Barrett is a British author and renowned</a:t>
            </a:r>
            <a:r>
              <a:rPr lang="en-US" baseline="0" dirty="0" smtClean="0"/>
              <a:t> expert on leadership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12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408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de-DE" dirty="0" smtClean="0"/>
              <a:t>Add a plant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14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irtual </a:t>
            </a:r>
            <a:r>
              <a:rPr lang="en-US" dirty="0" err="1" smtClean="0"/>
              <a:t>commissiong</a:t>
            </a:r>
            <a:r>
              <a:rPr lang="en-US" dirty="0" smtClean="0"/>
              <a:t> – we are moving towards digital in everything we do</a:t>
            </a:r>
          </a:p>
          <a:p>
            <a:r>
              <a:rPr lang="en-US" dirty="0" smtClean="0"/>
              <a:t>Digital</a:t>
            </a:r>
            <a:r>
              <a:rPr lang="en-US" baseline="0" dirty="0" smtClean="0"/>
              <a:t> revolu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355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noAutofit/>
          </a:bodyPr>
          <a:lstStyle/>
          <a:p>
            <a:pPr marL="180975" indent="-18097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de-DE" sz="11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>
            <a:noAutofit/>
          </a:bodyPr>
          <a:lstStyle/>
          <a:p>
            <a:pPr marL="180975" indent="-180975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None/>
            </a:pPr>
            <a:endParaRPr lang="de-DE" sz="11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de-DE" dirty="0" smtClean="0"/>
              <a:t> </a:t>
            </a: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gaps</a:t>
            </a:r>
            <a:r>
              <a:rPr lang="de-DE" dirty="0" smtClean="0"/>
              <a:t> do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n </a:t>
            </a:r>
            <a:r>
              <a:rPr lang="de-DE" dirty="0" err="1" smtClean="0"/>
              <a:t>or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il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ap</a:t>
            </a:r>
            <a:endParaRPr lang="de-DE" baseline="0" dirty="0" smtClean="0"/>
          </a:p>
          <a:p>
            <a:pPr>
              <a:spcBef>
                <a:spcPts val="400"/>
              </a:spcBef>
            </a:pPr>
            <a:endParaRPr lang="en-US" sz="2000" b="1" dirty="0" smtClean="0">
              <a:solidFill>
                <a:srgbClr val="505A64"/>
              </a:solidFill>
            </a:endParaRPr>
          </a:p>
          <a:p>
            <a:pPr>
              <a:spcBef>
                <a:spcPts val="400"/>
              </a:spcBef>
            </a:pPr>
            <a:r>
              <a:rPr lang="en-US" sz="2000" b="1" dirty="0" smtClean="0">
                <a:solidFill>
                  <a:srgbClr val="505A64"/>
                </a:solidFill>
              </a:rPr>
              <a:t>Information technology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Cloud Computing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Database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Infrastructure and connection technologie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IS/DS and security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Serve- and memory-technologie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Network protocols/ IP Addressing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Network engineering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Virtualization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Software development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Application engineering</a:t>
            </a:r>
          </a:p>
          <a:p>
            <a:pPr marL="144000" indent="-144000">
              <a:spcBef>
                <a:spcPts val="400"/>
              </a:spcBef>
            </a:pPr>
            <a:r>
              <a:rPr lang="en-US" sz="2000" b="1" dirty="0" smtClean="0">
                <a:solidFill>
                  <a:srgbClr val="505A64"/>
                </a:solidFill>
              </a:rPr>
              <a:t>Soft skill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Lean management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Media literacy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Project management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Process management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Self-directed learning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Self-management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Systemic thinking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Knowledge management</a:t>
            </a:r>
          </a:p>
          <a:p>
            <a:pPr>
              <a:spcBef>
                <a:spcPts val="400"/>
              </a:spcBef>
            </a:pPr>
            <a:r>
              <a:rPr lang="en-US" sz="1200" b="1" dirty="0" smtClean="0">
                <a:solidFill>
                  <a:srgbClr val="505A64"/>
                </a:solidFill>
              </a:rPr>
              <a:t>Mechanical engineering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900" dirty="0" smtClean="0">
                <a:solidFill>
                  <a:schemeClr val="tx1"/>
                </a:solidFill>
              </a:rPr>
              <a:t>PLM software</a:t>
            </a:r>
          </a:p>
          <a:p>
            <a:pPr>
              <a:spcBef>
                <a:spcPts val="400"/>
              </a:spcBef>
            </a:pPr>
            <a:r>
              <a:rPr lang="en-US" sz="2000" b="1" dirty="0" smtClean="0">
                <a:solidFill>
                  <a:srgbClr val="505A64"/>
                </a:solidFill>
              </a:rPr>
              <a:t>Electronics / mechatronic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Embedded system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Identification system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Sensor technologies / actuating element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Robotics</a:t>
            </a:r>
          </a:p>
          <a:p>
            <a:pPr>
              <a:spcBef>
                <a:spcPts val="400"/>
              </a:spcBef>
              <a:tabLst>
                <a:tab pos="0" algn="l"/>
              </a:tabLst>
            </a:pPr>
            <a:r>
              <a:rPr lang="en-US" sz="2000" b="1" dirty="0" smtClean="0">
                <a:solidFill>
                  <a:srgbClr val="505A64"/>
                </a:solidFill>
              </a:rPr>
              <a:t>Business administration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Data analytic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r>
              <a:rPr lang="en-US" sz="1200" dirty="0" smtClean="0">
                <a:solidFill>
                  <a:schemeClr val="tx1"/>
                </a:solidFill>
              </a:rPr>
              <a:t>Planning and development of business models</a:t>
            </a:r>
          </a:p>
          <a:p>
            <a:pPr marL="144000" indent="-144000">
              <a:spcBef>
                <a:spcPts val="400"/>
              </a:spcBef>
              <a:buFont typeface="Arial" pitchFamily="34" charset="0"/>
              <a:buChar char="‒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5810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Digital competences and culture change are a must for digital transformation  - </a:t>
            </a:r>
            <a:endParaRPr lang="de-DE" i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1.wmf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2.jpeg"/><Relationship Id="rId2" Type="http://schemas.openxmlformats.org/officeDocument/2006/relationships/tags" Target="../tags/tag32.xml"/><Relationship Id="rId1" Type="http://schemas.openxmlformats.org/officeDocument/2006/relationships/customXml" Target="../../customXml/item2.xml"/><Relationship Id="rId6" Type="http://schemas.openxmlformats.org/officeDocument/2006/relationships/tags" Target="../tags/tag3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customXml" Target="../../customXml/item3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customXml" Target="../../customXml/item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4" Type="http://schemas.openxmlformats.org/officeDocument/2006/relationships/tags" Target="../tags/tag9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customXml" Target="../../customXml/item14.xml"/><Relationship Id="rId6" Type="http://schemas.openxmlformats.org/officeDocument/2006/relationships/tags" Target="../tags/tag101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customXml" Target="../../customXml/item23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customXml" Target="../../customXml/item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customXml" Target="../../customXml/item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customXml" Target="../../customXml/item1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1.wmf"/><Relationship Id="rId4" Type="http://schemas.openxmlformats.org/officeDocument/2006/relationships/tags" Target="../tags/tag43.xml"/><Relationship Id="rId9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customXml" Target="../../customXml/item16.x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4" Type="http://schemas.openxmlformats.org/officeDocument/2006/relationships/tags" Target="../tags/tag11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customXml" Target="../../customXml/item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2.xml"/><Relationship Id="rId4" Type="http://schemas.openxmlformats.org/officeDocument/2006/relationships/tags" Target="../tags/tag12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customXml" Target="../../customXml/item13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9.xml"/><Relationship Id="rId4" Type="http://schemas.openxmlformats.org/officeDocument/2006/relationships/image" Target="../media/image8.w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0.wmf"/><Relationship Id="rId4" Type="http://schemas.openxmlformats.org/officeDocument/2006/relationships/image" Target="../media/image9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1.wmf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4.jpeg"/><Relationship Id="rId2" Type="http://schemas.openxmlformats.org/officeDocument/2006/relationships/tags" Target="../tags/tag47.xml"/><Relationship Id="rId1" Type="http://schemas.openxmlformats.org/officeDocument/2006/relationships/customXml" Target="../../customXml/item20.xml"/><Relationship Id="rId6" Type="http://schemas.openxmlformats.org/officeDocument/2006/relationships/tags" Target="../tags/tag5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0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image" Target="../media/image1.wmf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image" Target="../media/image4.jpeg"/><Relationship Id="rId2" Type="http://schemas.openxmlformats.org/officeDocument/2006/relationships/tags" Target="../tags/tag56.xml"/><Relationship Id="rId1" Type="http://schemas.openxmlformats.org/officeDocument/2006/relationships/customXml" Target="../../customXml/item17.xml"/><Relationship Id="rId6" Type="http://schemas.openxmlformats.org/officeDocument/2006/relationships/tags" Target="../tags/tag6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customXml" Target="../../customXml/item22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1.xml"/><Relationship Id="rId7" Type="http://schemas.openxmlformats.org/officeDocument/2006/relationships/image" Target="../media/image3.jpeg"/><Relationship Id="rId2" Type="http://schemas.openxmlformats.org/officeDocument/2006/relationships/tags" Target="../tags/tag70.xml"/><Relationship Id="rId1" Type="http://schemas.openxmlformats.org/officeDocument/2006/relationships/customXml" Target="../../customXml/item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3.xml"/><Relationship Id="rId4" Type="http://schemas.openxmlformats.org/officeDocument/2006/relationships/tags" Target="../tags/tag7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7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customXml" Target="../../customXml/item10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customXml" Target="../../customXml/item1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customXml" Target="../../customXml/item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9" name="cdtPicture 8 Id9" descr="Image_Titel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8350" cy="414909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338137" y="4149090"/>
            <a:ext cx="11860212" cy="870014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338137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4" name="cdtText Box 133 Id14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Internal © Siemens AG 2015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0" name="cdtText Box 133 Id10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siemens.com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marR="0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12875"/>
            <a:ext cx="5472112" cy="47529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marR="0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360045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12875"/>
            <a:ext cx="3600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12875"/>
            <a:ext cx="3600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12876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marR="0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12875"/>
            <a:ext cx="5472112" cy="23034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marR="0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marR="0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60800"/>
            <a:ext cx="5472112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marR="0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‒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8208962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6768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12875"/>
            <a:ext cx="403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5157217"/>
          </a:xfrm>
          <a:prstGeom prst="rect">
            <a:avLst/>
          </a:prstGeom>
          <a:noFill/>
          <a:ln>
            <a:noFill/>
          </a:ln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gray">
          <a:xfrm>
            <a:off x="338137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338137" y="5157216"/>
            <a:ext cx="11860212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4" name="cdtPicture 10 Id14" descr="SIE_Logo_Layer_Petrol_RGB_A3_76mm.wmf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Restricted</a:t>
            </a:r>
            <a:r>
              <a:rPr lang="en-US" sz="1000" b="1" baseline="0" dirty="0" smtClean="0">
                <a:solidFill>
                  <a:srgbClr val="879BAA"/>
                </a:solidFill>
              </a:rPr>
              <a:t> </a:t>
            </a:r>
            <a:r>
              <a:rPr lang="en-US" sz="1000" b="1" dirty="0" smtClean="0">
                <a:solidFill>
                  <a:srgbClr val="879BAA"/>
                </a:solidFill>
              </a:rPr>
              <a:t>© Siemens AG 2015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2" name="cdtText Box 133 Id12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siemens.com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5"/>
            <a:ext cx="2592000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12875"/>
            <a:ext cx="2736775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12875"/>
            <a:ext cx="2592387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8208962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60800"/>
            <a:ext cx="8208962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12876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12875"/>
            <a:ext cx="403200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60800"/>
            <a:ext cx="403200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12875"/>
            <a:ext cx="1295999" cy="475297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C:\Users\luthera\Documents\Branding - Overall\Ingenuity for Life\Internet\Werner&amp;CDNemployees_horiz_0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8350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36000" rIns="0" bIns="0"/>
          <a:lstStyle/>
          <a:p>
            <a:pPr algn="ctr">
              <a:spcBef>
                <a:spcPct val="50000"/>
              </a:spcBef>
              <a:defRPr/>
            </a:pPr>
            <a:endParaRPr lang="en-US" sz="1100" b="1" dirty="0">
              <a:solidFill>
                <a:srgbClr val="990000"/>
              </a:solidFill>
              <a:latin typeface="Arial" pitchFamily="34" charset="0"/>
              <a:ea typeface="ＭＳ Ｐゴシック" charset="-128"/>
            </a:endParaRPr>
          </a:p>
        </p:txBody>
      </p:sp>
      <p:pic>
        <p:nvPicPr>
          <p:cNvPr id="7" name="Grafik 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555163" y="323850"/>
            <a:ext cx="2160587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pieren 33"/>
          <p:cNvGrpSpPr>
            <a:grpSpLocks/>
          </p:cNvGrpSpPr>
          <p:nvPr userDrawn="1"/>
        </p:nvGrpSpPr>
        <p:grpSpPr bwMode="auto">
          <a:xfrm>
            <a:off x="-215900" y="-215900"/>
            <a:ext cx="12628563" cy="7289800"/>
            <a:chOff x="-216000" y="-216000"/>
            <a:chExt cx="12628800" cy="7290000"/>
          </a:xfrm>
        </p:grpSpPr>
        <p:cxnSp>
          <p:nvCxnSpPr>
            <p:cNvPr id="11" name="Gerade Verbindung 34"/>
            <p:cNvCxnSpPr>
              <a:cxnSpLocks noChangeShapeType="1"/>
            </p:cNvCxnSpPr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2" name="Gerade Verbindung 35"/>
            <p:cNvCxnSpPr>
              <a:cxnSpLocks noChangeShapeType="1"/>
            </p:cNvCxnSpPr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3" name="Gerade Verbindung 36"/>
            <p:cNvCxnSpPr>
              <a:cxnSpLocks noChangeShapeType="1"/>
            </p:cNvCxnSpPr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4" name="Gerade Verbindung 37"/>
            <p:cNvCxnSpPr>
              <a:cxnSpLocks noChangeShapeType="1"/>
            </p:cNvCxnSpPr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5" name="Gerade Verbindung 38"/>
            <p:cNvCxnSpPr>
              <a:cxnSpLocks noChangeShapeType="1"/>
            </p:cNvCxnSpPr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6" name="Gerade Verbindung 39"/>
            <p:cNvCxnSpPr>
              <a:cxnSpLocks noChangeShapeType="1"/>
            </p:cNvCxnSpPr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7" name="Gerade Verbindung 40"/>
            <p:cNvCxnSpPr>
              <a:cxnSpLocks noChangeShapeType="1"/>
            </p:cNvCxnSpPr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8" name="Gerade Verbindung 41"/>
            <p:cNvCxnSpPr>
              <a:cxnSpLocks noChangeShapeType="1"/>
            </p:cNvCxnSpPr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19" name="Gerade Verbindung 42"/>
            <p:cNvCxnSpPr>
              <a:cxnSpLocks noChangeShapeType="1"/>
            </p:cNvCxnSpPr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0" name="Gerade Verbindung 43"/>
            <p:cNvCxnSpPr>
              <a:cxnSpLocks noChangeShapeType="1"/>
            </p:cNvCxnSpPr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1" name="Gerade Verbindung 44"/>
            <p:cNvCxnSpPr>
              <a:cxnSpLocks noChangeShapeType="1"/>
            </p:cNvCxnSpPr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2" name="Gerade Verbindung 45"/>
            <p:cNvCxnSpPr>
              <a:cxnSpLocks noChangeShapeType="1"/>
            </p:cNvCxnSpPr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3" name="Gerade Verbindung 46"/>
            <p:cNvCxnSpPr>
              <a:cxnSpLocks noChangeShapeType="1"/>
            </p:cNvCxnSpPr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4" name="Gerade Verbindung 47"/>
            <p:cNvCxnSpPr>
              <a:cxnSpLocks noChangeShapeType="1"/>
            </p:cNvCxnSpPr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5" name="Gerade Verbindung 48"/>
            <p:cNvCxnSpPr>
              <a:cxnSpLocks noChangeShapeType="1"/>
            </p:cNvCxnSpPr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6" name="Gerade Verbindung 49"/>
            <p:cNvCxnSpPr>
              <a:cxnSpLocks noChangeShapeType="1"/>
            </p:cNvCxnSpPr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7" name="Gerade Verbindung 50"/>
            <p:cNvCxnSpPr>
              <a:cxnSpLocks noChangeShapeType="1"/>
            </p:cNvCxnSpPr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Gerade Verbindung 51"/>
            <p:cNvCxnSpPr>
              <a:cxnSpLocks noChangeShapeType="1"/>
            </p:cNvCxnSpPr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9" name="Gerade Verbindung 52"/>
            <p:cNvCxnSpPr>
              <a:cxnSpLocks noChangeShapeType="1"/>
            </p:cNvCxnSpPr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0" name="Gerade Verbindung 53"/>
            <p:cNvCxnSpPr>
              <a:cxnSpLocks noChangeShapeType="1"/>
            </p:cNvCxnSpPr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1" name="Gerade Verbindung 54"/>
            <p:cNvCxnSpPr>
              <a:cxnSpLocks noChangeShapeType="1"/>
            </p:cNvCxnSpPr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2" name="Gerade Verbindung 55"/>
            <p:cNvCxnSpPr>
              <a:cxnSpLocks noChangeShapeType="1"/>
            </p:cNvCxnSpPr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</p:cxnSp>
      </p:grpSp>
      <p:sp>
        <p:nvSpPr>
          <p:cNvPr id="4" name="cdtRectangle 115 Id57350"/>
          <p:cNvSpPr>
            <a:spLocks noGrp="1" noChangeArrowheads="1"/>
          </p:cNvSpPr>
          <p:nvPr>
            <p:ph type="ctrTitle"/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lIns="216000" tIns="90000" rIns="216000" bIns="21600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CA" dirty="0" err="1" smtClean="0"/>
              <a:t>Click to edit Master text styles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/>
          </p:nvPr>
        </p:nvSpPr>
        <p:spPr>
          <a:xfrm>
            <a:off x="627063" y="5907600"/>
            <a:ext cx="2340000" cy="324000"/>
          </a:xfrm>
        </p:spPr>
        <p:txBody>
          <a:bodyPr lIns="216000" tIns="9000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CA" dirty="0" err="1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722171" y="1412875"/>
            <a:ext cx="10948866" cy="215444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 2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97" y="0"/>
            <a:ext cx="12213147" cy="6858000"/>
          </a:xfrm>
          <a:prstGeom prst="rect">
            <a:avLst/>
          </a:prstGeom>
        </p:spPr>
      </p:pic>
      <p:sp>
        <p:nvSpPr>
          <p:cNvPr id="2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27" name="Grafik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5479" y="324000"/>
            <a:ext cx="2880000" cy="1218406"/>
          </a:xfrm>
          <a:prstGeom prst="rect">
            <a:avLst/>
          </a:prstGeom>
        </p:spPr>
      </p:pic>
      <p:sp>
        <p:nvSpPr>
          <p:cNvPr id="28" name="Freeform 5"/>
          <p:cNvSpPr>
            <a:spLocks noChangeAspect="1" noEditPoints="1"/>
          </p:cNvSpPr>
          <p:nvPr userDrawn="1"/>
        </p:nvSpPr>
        <p:spPr bwMode="auto">
          <a:xfrm>
            <a:off x="6655021" y="2317402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26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9" name="Freeform 5"/>
          <p:cNvSpPr>
            <a:spLocks noChangeAspect="1" noEditPoints="1"/>
          </p:cNvSpPr>
          <p:nvPr userDrawn="1"/>
        </p:nvSpPr>
        <p:spPr bwMode="auto">
          <a:xfrm>
            <a:off x="3443852" y="3216767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51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0" name="Freeform 5"/>
          <p:cNvSpPr>
            <a:spLocks noChangeAspect="1" noEditPoints="1"/>
          </p:cNvSpPr>
          <p:nvPr userDrawn="1"/>
        </p:nvSpPr>
        <p:spPr bwMode="auto">
          <a:xfrm>
            <a:off x="2890448" y="2940537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33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1" name="Freeform 5"/>
          <p:cNvSpPr>
            <a:spLocks noChangeAspect="1" noEditPoints="1"/>
          </p:cNvSpPr>
          <p:nvPr userDrawn="1"/>
        </p:nvSpPr>
        <p:spPr bwMode="auto">
          <a:xfrm>
            <a:off x="1016985" y="1826215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26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2" name="Freeform 5"/>
          <p:cNvSpPr>
            <a:spLocks noChangeAspect="1" noEditPoints="1"/>
          </p:cNvSpPr>
          <p:nvPr userDrawn="1"/>
        </p:nvSpPr>
        <p:spPr bwMode="auto">
          <a:xfrm>
            <a:off x="534740" y="2209234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13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3" name="Freeform 5"/>
          <p:cNvSpPr>
            <a:spLocks noChangeAspect="1" noEditPoints="1"/>
          </p:cNvSpPr>
          <p:nvPr userDrawn="1"/>
        </p:nvSpPr>
        <p:spPr bwMode="auto">
          <a:xfrm>
            <a:off x="1758585" y="2931631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51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4" name="Freeform 5"/>
          <p:cNvSpPr>
            <a:spLocks noChangeAspect="1" noEditPoints="1"/>
          </p:cNvSpPr>
          <p:nvPr userDrawn="1"/>
        </p:nvSpPr>
        <p:spPr bwMode="auto">
          <a:xfrm>
            <a:off x="8783887" y="3370987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17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5" name="Freeform 5"/>
          <p:cNvSpPr>
            <a:spLocks noChangeAspect="1" noEditPoints="1"/>
          </p:cNvSpPr>
          <p:nvPr userDrawn="1"/>
        </p:nvSpPr>
        <p:spPr bwMode="auto">
          <a:xfrm>
            <a:off x="8103024" y="3141757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accent2">
              <a:lumMod val="75000"/>
              <a:alpha val="51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6" name="Freeform 5"/>
          <p:cNvSpPr>
            <a:spLocks noChangeAspect="1" noEditPoints="1"/>
          </p:cNvSpPr>
          <p:nvPr userDrawn="1"/>
        </p:nvSpPr>
        <p:spPr bwMode="auto">
          <a:xfrm>
            <a:off x="5952527" y="2899429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rgbClr val="BECDD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7" name="Freeform 5"/>
          <p:cNvSpPr>
            <a:spLocks noChangeAspect="1" noEditPoints="1"/>
          </p:cNvSpPr>
          <p:nvPr userDrawn="1"/>
        </p:nvSpPr>
        <p:spPr bwMode="auto">
          <a:xfrm>
            <a:off x="6937065" y="3800180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38" name="Freeform 5"/>
          <p:cNvSpPr>
            <a:spLocks noChangeAspect="1" noEditPoints="1"/>
          </p:cNvSpPr>
          <p:nvPr userDrawn="1"/>
        </p:nvSpPr>
        <p:spPr bwMode="auto">
          <a:xfrm>
            <a:off x="3616601" y="1110412"/>
            <a:ext cx="505351" cy="1206990"/>
          </a:xfrm>
          <a:custGeom>
            <a:avLst/>
            <a:gdLst>
              <a:gd name="T0" fmla="*/ 97 w 334"/>
              <a:gd name="T1" fmla="*/ 70 h 800"/>
              <a:gd name="T2" fmla="*/ 167 w 334"/>
              <a:gd name="T3" fmla="*/ 0 h 800"/>
              <a:gd name="T4" fmla="*/ 237 w 334"/>
              <a:gd name="T5" fmla="*/ 70 h 800"/>
              <a:gd name="T6" fmla="*/ 167 w 334"/>
              <a:gd name="T7" fmla="*/ 140 h 800"/>
              <a:gd name="T8" fmla="*/ 97 w 334"/>
              <a:gd name="T9" fmla="*/ 70 h 800"/>
              <a:gd name="T10" fmla="*/ 334 w 334"/>
              <a:gd name="T11" fmla="*/ 447 h 800"/>
              <a:gd name="T12" fmla="*/ 292 w 334"/>
              <a:gd name="T13" fmla="*/ 188 h 800"/>
              <a:gd name="T14" fmla="*/ 292 w 334"/>
              <a:gd name="T15" fmla="*/ 188 h 800"/>
              <a:gd name="T16" fmla="*/ 251 w 334"/>
              <a:gd name="T17" fmla="*/ 154 h 800"/>
              <a:gd name="T18" fmla="*/ 83 w 334"/>
              <a:gd name="T19" fmla="*/ 154 h 800"/>
              <a:gd name="T20" fmla="*/ 42 w 334"/>
              <a:gd name="T21" fmla="*/ 188 h 800"/>
              <a:gd name="T22" fmla="*/ 42 w 334"/>
              <a:gd name="T23" fmla="*/ 188 h 800"/>
              <a:gd name="T24" fmla="*/ 0 w 334"/>
              <a:gd name="T25" fmla="*/ 447 h 800"/>
              <a:gd name="T26" fmla="*/ 43 w 334"/>
              <a:gd name="T27" fmla="*/ 447 h 800"/>
              <a:gd name="T28" fmla="*/ 83 w 334"/>
              <a:gd name="T29" fmla="*/ 261 h 800"/>
              <a:gd name="T30" fmla="*/ 83 w 334"/>
              <a:gd name="T31" fmla="*/ 800 h 800"/>
              <a:gd name="T32" fmla="*/ 163 w 334"/>
              <a:gd name="T33" fmla="*/ 800 h 800"/>
              <a:gd name="T34" fmla="*/ 163 w 334"/>
              <a:gd name="T35" fmla="*/ 478 h 800"/>
              <a:gd name="T36" fmla="*/ 171 w 334"/>
              <a:gd name="T37" fmla="*/ 478 h 800"/>
              <a:gd name="T38" fmla="*/ 171 w 334"/>
              <a:gd name="T39" fmla="*/ 800 h 800"/>
              <a:gd name="T40" fmla="*/ 251 w 334"/>
              <a:gd name="T41" fmla="*/ 800 h 800"/>
              <a:gd name="T42" fmla="*/ 251 w 334"/>
              <a:gd name="T43" fmla="*/ 261 h 800"/>
              <a:gd name="T44" fmla="*/ 291 w 334"/>
              <a:gd name="T45" fmla="*/ 447 h 800"/>
              <a:gd name="T46" fmla="*/ 334 w 334"/>
              <a:gd name="T47" fmla="*/ 447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4" h="800">
                <a:moveTo>
                  <a:pt x="97" y="70"/>
                </a:moveTo>
                <a:cubicBezTo>
                  <a:pt x="97" y="31"/>
                  <a:pt x="128" y="0"/>
                  <a:pt x="167" y="0"/>
                </a:cubicBezTo>
                <a:cubicBezTo>
                  <a:pt x="206" y="0"/>
                  <a:pt x="237" y="31"/>
                  <a:pt x="237" y="70"/>
                </a:cubicBezTo>
                <a:cubicBezTo>
                  <a:pt x="237" y="108"/>
                  <a:pt x="206" y="140"/>
                  <a:pt x="167" y="140"/>
                </a:cubicBezTo>
                <a:cubicBezTo>
                  <a:pt x="128" y="140"/>
                  <a:pt x="97" y="108"/>
                  <a:pt x="97" y="70"/>
                </a:cubicBezTo>
                <a:close/>
                <a:moveTo>
                  <a:pt x="334" y="447"/>
                </a:moveTo>
                <a:cubicBezTo>
                  <a:pt x="292" y="188"/>
                  <a:pt x="292" y="188"/>
                  <a:pt x="292" y="188"/>
                </a:cubicBezTo>
                <a:cubicBezTo>
                  <a:pt x="292" y="188"/>
                  <a:pt x="292" y="188"/>
                  <a:pt x="292" y="188"/>
                </a:cubicBezTo>
                <a:cubicBezTo>
                  <a:pt x="289" y="169"/>
                  <a:pt x="271" y="154"/>
                  <a:pt x="251" y="154"/>
                </a:cubicBezTo>
                <a:cubicBezTo>
                  <a:pt x="83" y="154"/>
                  <a:pt x="83" y="154"/>
                  <a:pt x="83" y="154"/>
                </a:cubicBezTo>
                <a:cubicBezTo>
                  <a:pt x="63" y="154"/>
                  <a:pt x="45" y="169"/>
                  <a:pt x="42" y="188"/>
                </a:cubicBezTo>
                <a:cubicBezTo>
                  <a:pt x="42" y="188"/>
                  <a:pt x="42" y="188"/>
                  <a:pt x="42" y="188"/>
                </a:cubicBezTo>
                <a:cubicBezTo>
                  <a:pt x="0" y="447"/>
                  <a:pt x="0" y="447"/>
                  <a:pt x="0" y="447"/>
                </a:cubicBezTo>
                <a:cubicBezTo>
                  <a:pt x="43" y="447"/>
                  <a:pt x="43" y="447"/>
                  <a:pt x="43" y="447"/>
                </a:cubicBezTo>
                <a:cubicBezTo>
                  <a:pt x="83" y="261"/>
                  <a:pt x="83" y="261"/>
                  <a:pt x="83" y="261"/>
                </a:cubicBezTo>
                <a:cubicBezTo>
                  <a:pt x="83" y="800"/>
                  <a:pt x="83" y="800"/>
                  <a:pt x="83" y="800"/>
                </a:cubicBezTo>
                <a:cubicBezTo>
                  <a:pt x="163" y="800"/>
                  <a:pt x="163" y="800"/>
                  <a:pt x="163" y="800"/>
                </a:cubicBezTo>
                <a:cubicBezTo>
                  <a:pt x="163" y="478"/>
                  <a:pt x="163" y="478"/>
                  <a:pt x="163" y="478"/>
                </a:cubicBezTo>
                <a:cubicBezTo>
                  <a:pt x="165" y="478"/>
                  <a:pt x="170" y="478"/>
                  <a:pt x="171" y="478"/>
                </a:cubicBezTo>
                <a:cubicBezTo>
                  <a:pt x="171" y="800"/>
                  <a:pt x="171" y="800"/>
                  <a:pt x="171" y="800"/>
                </a:cubicBezTo>
                <a:cubicBezTo>
                  <a:pt x="251" y="800"/>
                  <a:pt x="251" y="800"/>
                  <a:pt x="251" y="800"/>
                </a:cubicBezTo>
                <a:cubicBezTo>
                  <a:pt x="251" y="261"/>
                  <a:pt x="251" y="261"/>
                  <a:pt x="251" y="261"/>
                </a:cubicBezTo>
                <a:cubicBezTo>
                  <a:pt x="291" y="447"/>
                  <a:pt x="291" y="447"/>
                  <a:pt x="291" y="447"/>
                </a:cubicBezTo>
                <a:lnTo>
                  <a:pt x="334" y="447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4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2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1052736"/>
            <a:ext cx="6480000" cy="4617860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7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3" name="Textplatzhalter 57343"/>
          <p:cNvSpPr>
            <a:spLocks noGrp="1"/>
          </p:cNvSpPr>
          <p:nvPr>
            <p:ph type="body" sz="quarter" idx="12"/>
          </p:nvPr>
        </p:nvSpPr>
        <p:spPr>
          <a:xfrm>
            <a:off x="627063" y="5805312"/>
            <a:ext cx="6480000" cy="432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5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4" name="Textplatzhalter 57343"/>
          <p:cNvSpPr>
            <a:spLocks noGrp="1"/>
          </p:cNvSpPr>
          <p:nvPr>
            <p:ph type="body" sz="quarter" idx="13"/>
          </p:nvPr>
        </p:nvSpPr>
        <p:spPr>
          <a:xfrm>
            <a:off x="627063" y="5805312"/>
            <a:ext cx="3060000" cy="432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5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55173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down)" type="title" preserve="1">
  <p:cSld name="Title fullscreen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14" name="cdtRectangle 1 Id14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0" name="cdtPicture 9 Id10" descr="Image_Titel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2" cstate="print"/>
          <a:stretch>
            <a:fillRect/>
          </a:stretch>
        </p:blipFill>
        <p:spPr bwMode="ltGray"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38137" y="2420873"/>
            <a:ext cx="11860212" cy="1266246"/>
          </a:xfrm>
          <a:solidFill>
            <a:srgbClr val="233746">
              <a:alpha val="65000"/>
            </a:srgbClr>
          </a:solidFill>
        </p:spPr>
        <p:txBody>
          <a:bodyPr wrap="square" lIns="270000" tIns="536400" rIns="482400" bIns="108000" anchor="t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2" name="cdtPicture 10 Id12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000000"/>
                </a:solidFill>
              </a:rPr>
              <a:t>Internal © Siemens AG 2015</a:t>
            </a: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 bwMode="ltGray">
          <a:xfrm>
            <a:off x="338138" y="2420874"/>
            <a:ext cx="11860212" cy="39308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33746">
                    <a:alpha val="65000"/>
                  </a:srgbClr>
                </a:solidFill>
              </a14:hiddenFill>
            </a:ext>
          </a:extLst>
        </p:spPr>
        <p:txBody>
          <a:bodyPr wrap="square" lIns="270000" tIns="18000" rIns="482400" bIns="36000" anchor="b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3" name="cdtText Box 133 Id13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siemens.com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fullscreen (big bar up)" type="title" preserve="1">
  <p:cSld name="Title fullscreen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dtRectangle 15 Id16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14" name="cdtRectangle 1 Id14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0" name="cdtPicture 9 Id10" descr="Image_Titel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2" cstate="print"/>
          <a:stretch>
            <a:fillRect/>
          </a:stretch>
        </p:blipFill>
        <p:spPr bwMode="ltGray"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338137" y="2987889"/>
            <a:ext cx="11860212" cy="1266246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5004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5" name="cdtText Box 133 Id15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000000"/>
                </a:solidFill>
              </a:rPr>
              <a:t>Internal © Siemens AG 2015</a:t>
            </a:r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9"/>
            </p:custDataLst>
          </p:nvPr>
        </p:nvSpPr>
        <p:spPr bwMode="ltGray">
          <a:xfrm>
            <a:off x="338138" y="3860800"/>
            <a:ext cx="11860212" cy="39308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233746">
                    <a:alpha val="65000"/>
                  </a:srgbClr>
                </a:solidFill>
              </a14:hiddenFill>
            </a:ext>
          </a:extLst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2" name="cdtText Box 133 Id12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836025" y="6165850"/>
            <a:ext cx="3362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144000" rIns="482400" bIns="0" anchor="ctr"/>
          <a:lstStyle/>
          <a:p>
            <a:pPr algn="r"/>
            <a:r>
              <a:rPr lang="en-US" sz="1000" b="1" dirty="0" smtClean="0">
                <a:solidFill>
                  <a:srgbClr val="000000"/>
                </a:solidFill>
              </a:rPr>
              <a:t>siemens.com</a:t>
            </a:r>
            <a:endParaRPr lang="en-US" sz="1000" b="1" dirty="0">
              <a:solidFill>
                <a:srgbClr val="000000"/>
              </a:solidFill>
            </a:endParaRPr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gray">
          <a:xfrm>
            <a:off x="338138" y="4149090"/>
            <a:ext cx="11860212" cy="870014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 bwMode="gray">
          <a:xfrm>
            <a:off x="338138" y="3756008"/>
            <a:ext cx="11860212" cy="393082"/>
          </a:xfr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cdtPicture 7 Id8" descr="sie_logo_layer_petrol_rgb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5887" y="0"/>
            <a:ext cx="1439863" cy="804863"/>
          </a:xfrm>
          <a:prstGeom prst="rect">
            <a:avLst/>
          </a:prstGeom>
          <a:noFill/>
        </p:spPr>
      </p:pic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title (big bar up)" type="title" preserve="1">
  <p:cSld name="Chapter 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5157217"/>
          </a:xfrm>
          <a:prstGeom prst="rect">
            <a:avLst/>
          </a:prstGeom>
          <a:noFill/>
          <a:ln>
            <a:noFill/>
          </a:ln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gray">
          <a:xfrm>
            <a:off x="338138" y="4287202"/>
            <a:ext cx="11860212" cy="870014"/>
          </a:xfrm>
          <a:solidFill>
            <a:srgbClr val="233746">
              <a:alpha val="65000"/>
            </a:srgbClr>
          </a:solidFill>
        </p:spPr>
        <p:txBody>
          <a:bodyPr wrap="square" lIns="270000" tIns="144000" rIns="482400" bIns="108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338138" y="5157216"/>
            <a:ext cx="11860212" cy="393082"/>
          </a:xfrm>
          <a:solidFill>
            <a:srgbClr val="879BAA"/>
          </a:solidFill>
        </p:spPr>
        <p:txBody>
          <a:bodyPr wrap="square" lIns="270000" tIns="18000" rIns="482400" bIns="36000" anchor="t" anchorCtr="0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9" name="cdtPicture 7 Id9" descr="sie_logo_layer_petrol_rgb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5887" y="0"/>
            <a:ext cx="1439863" cy="804863"/>
          </a:xfrm>
          <a:prstGeom prst="rect">
            <a:avLst/>
          </a:prstGeom>
          <a:noFill/>
        </p:spPr>
      </p:pic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2 Id5"/>
          <p:cNvSpPr/>
          <p:nvPr userDrawn="1">
            <p:custDataLst>
              <p:tags r:id="rId2"/>
            </p:custDataLst>
          </p:nvPr>
        </p:nvSpPr>
        <p:spPr bwMode="auto">
          <a:xfrm>
            <a:off x="4658995" y="1412875"/>
            <a:ext cx="7539355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412875"/>
            <a:ext cx="7539354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2" name="cdtTitle 1 Id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1" name="cdtPicture Placeholder 10 Id11"/>
          <p:cNvSpPr>
            <a:spLocks noGrp="1"/>
          </p:cNvSpPr>
          <p:nvPr>
            <p:ph type="pic" sz="quarter" idx="13" hasCustomPrompt="1"/>
            <p:custDataLst>
              <p:tags r:id="rId5"/>
            </p:custDataLst>
          </p:nvPr>
        </p:nvSpPr>
        <p:spPr>
          <a:xfrm>
            <a:off x="0" y="1412875"/>
            <a:ext cx="4514977" cy="475297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 </a:t>
            </a:r>
            <a:endParaRPr lang="de-DE" dirty="0"/>
          </a:p>
        </p:txBody>
      </p:sp>
      <p:pic>
        <p:nvPicPr>
          <p:cNvPr id="6" name="Bildplatzhalter 12" descr="Image_IHV_Kontakt.jpg"/>
          <p:cNvPicPr>
            <a:picLocks/>
          </p:cNvPicPr>
          <p:nvPr userDrawn="1">
            <p:custDataLst>
              <p:tags r:id="rId6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1414800"/>
            <a:ext cx="4514977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12875"/>
            <a:ext cx="3887914" cy="4752975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12875"/>
            <a:ext cx="7539355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‒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9" Type="http://schemas.openxmlformats.org/officeDocument/2006/relationships/tags" Target="../tags/tag14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9.xml"/><Relationship Id="rId42" Type="http://schemas.openxmlformats.org/officeDocument/2006/relationships/tags" Target="../tags/tag17.xml"/><Relationship Id="rId47" Type="http://schemas.openxmlformats.org/officeDocument/2006/relationships/tags" Target="../tags/tag22.xml"/><Relationship Id="rId50" Type="http://schemas.openxmlformats.org/officeDocument/2006/relationships/tags" Target="../tags/tag25.xml"/><Relationship Id="rId55" Type="http://schemas.openxmlformats.org/officeDocument/2006/relationships/tags" Target="../tags/tag3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8.xml"/><Relationship Id="rId38" Type="http://schemas.openxmlformats.org/officeDocument/2006/relationships/tags" Target="../tags/tag13.xml"/><Relationship Id="rId46" Type="http://schemas.openxmlformats.org/officeDocument/2006/relationships/tags" Target="../tags/tag2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41" Type="http://schemas.openxmlformats.org/officeDocument/2006/relationships/tags" Target="../tags/tag16.xml"/><Relationship Id="rId54" Type="http://schemas.openxmlformats.org/officeDocument/2006/relationships/tags" Target="../tags/tag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tags" Target="../tags/tag12.xml"/><Relationship Id="rId40" Type="http://schemas.openxmlformats.org/officeDocument/2006/relationships/tags" Target="../tags/tag15.xml"/><Relationship Id="rId45" Type="http://schemas.openxmlformats.org/officeDocument/2006/relationships/tags" Target="../tags/tag20.xml"/><Relationship Id="rId53" Type="http://schemas.openxmlformats.org/officeDocument/2006/relationships/tags" Target="../tags/tag2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tags" Target="../tags/tag11.xml"/><Relationship Id="rId49" Type="http://schemas.openxmlformats.org/officeDocument/2006/relationships/tags" Target="../tags/tag24.xml"/><Relationship Id="rId57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4" Type="http://schemas.openxmlformats.org/officeDocument/2006/relationships/tags" Target="../tags/tag19.xml"/><Relationship Id="rId52" Type="http://schemas.openxmlformats.org/officeDocument/2006/relationships/tags" Target="../tags/tag2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tags" Target="../tags/tag10.xml"/><Relationship Id="rId43" Type="http://schemas.openxmlformats.org/officeDocument/2006/relationships/tags" Target="../tags/tag18.xml"/><Relationship Id="rId48" Type="http://schemas.openxmlformats.org/officeDocument/2006/relationships/tags" Target="../tags/tag23.xml"/><Relationship Id="rId56" Type="http://schemas.openxmlformats.org/officeDocument/2006/relationships/tags" Target="../tags/tag3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6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27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8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29"/>
            </p:custDataLst>
          </p:nvPr>
        </p:nvSpPr>
        <p:spPr bwMode="auto">
          <a:xfrm>
            <a:off x="627063" y="1412875"/>
            <a:ext cx="8208962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 userDrawn="1">
            <p:custDataLst>
              <p:tags r:id="rId30"/>
            </p:custDataLst>
          </p:nvPr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16" name="cdtText Box 133 Id16"/>
          <p:cNvSpPr txBox="1">
            <a:spLocks noChangeArrowheads="1"/>
          </p:cNvSpPr>
          <p:nvPr userDrawn="1">
            <p:custDataLst>
              <p:tags r:id="rId31"/>
            </p:custDataLst>
          </p:nvPr>
        </p:nvSpPr>
        <p:spPr bwMode="auto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Unrestricted © Siemens AG 2017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17" name="cdtTextBox 12 Id17"/>
          <p:cNvSpPr txBox="1"/>
          <p:nvPr userDrawn="1">
            <p:custDataLst>
              <p:tags r:id="rId3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July 2015</a:t>
            </a:r>
          </a:p>
        </p:txBody>
      </p:sp>
      <p:sp>
        <p:nvSpPr>
          <p:cNvPr id="18" name="cdtTextBox 11 Id18"/>
          <p:cNvSpPr txBox="1"/>
          <p:nvPr userDrawn="1">
            <p:custDataLst>
              <p:tags r:id="rId3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°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cxnSp>
        <p:nvCxnSpPr>
          <p:cNvPr id="3072" name="cdtMasterTags_CL1 Id3072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35"/>
          <p:cNvCxnSpPr/>
          <p:nvPr userDrawn="1"/>
        </p:nvCxnSpPr>
        <p:spPr bwMode="auto">
          <a:xfrm flipH="1">
            <a:off x="-360000" y="980728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36"/>
          <p:cNvCxnSpPr/>
          <p:nvPr userDrawn="1"/>
        </p:nvCxnSpPr>
        <p:spPr bwMode="auto">
          <a:xfrm flipH="1">
            <a:off x="-360000" y="1268760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 Verbindung 37"/>
          <p:cNvCxnSpPr/>
          <p:nvPr userDrawn="1"/>
        </p:nvCxnSpPr>
        <p:spPr bwMode="auto">
          <a:xfrm flipH="1">
            <a:off x="-360000" y="1412776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 Verbindung 38"/>
          <p:cNvCxnSpPr/>
          <p:nvPr userDrawn="1"/>
        </p:nvCxnSpPr>
        <p:spPr bwMode="auto">
          <a:xfrm flipH="1">
            <a:off x="-360000" y="3717032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39"/>
          <p:cNvCxnSpPr/>
          <p:nvPr userDrawn="1"/>
        </p:nvCxnSpPr>
        <p:spPr bwMode="auto">
          <a:xfrm flipH="1">
            <a:off x="-360000" y="3861048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40"/>
          <p:cNvCxnSpPr/>
          <p:nvPr userDrawn="1"/>
        </p:nvCxnSpPr>
        <p:spPr bwMode="auto">
          <a:xfrm flipH="1">
            <a:off x="-360000" y="6165304"/>
            <a:ext cx="180000" cy="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41"/>
          <p:cNvCxnSpPr/>
          <p:nvPr userDrawn="1"/>
        </p:nvCxnSpPr>
        <p:spPr bwMode="auto">
          <a:xfrm flipV="1">
            <a:off x="626567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 Verbindung 42"/>
          <p:cNvCxnSpPr/>
          <p:nvPr userDrawn="1"/>
        </p:nvCxnSpPr>
        <p:spPr bwMode="auto">
          <a:xfrm flipV="1">
            <a:off x="4226967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 Verbindung 43"/>
          <p:cNvCxnSpPr/>
          <p:nvPr userDrawn="1"/>
        </p:nvCxnSpPr>
        <p:spPr bwMode="auto">
          <a:xfrm flipV="1">
            <a:off x="4370983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44"/>
          <p:cNvCxnSpPr/>
          <p:nvPr userDrawn="1"/>
        </p:nvCxnSpPr>
        <p:spPr bwMode="auto">
          <a:xfrm flipV="1">
            <a:off x="6094738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45"/>
          <p:cNvCxnSpPr/>
          <p:nvPr userDrawn="1"/>
        </p:nvCxnSpPr>
        <p:spPr bwMode="auto">
          <a:xfrm flipV="1">
            <a:off x="6243191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46"/>
          <p:cNvCxnSpPr/>
          <p:nvPr userDrawn="1"/>
        </p:nvCxnSpPr>
        <p:spPr bwMode="auto">
          <a:xfrm flipV="1">
            <a:off x="8835479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47"/>
          <p:cNvCxnSpPr/>
          <p:nvPr userDrawn="1"/>
        </p:nvCxnSpPr>
        <p:spPr bwMode="auto">
          <a:xfrm flipV="1">
            <a:off x="11715799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 Verbindung 48"/>
          <p:cNvCxnSpPr/>
          <p:nvPr userDrawn="1"/>
        </p:nvCxnSpPr>
        <p:spPr bwMode="auto">
          <a:xfrm flipV="1">
            <a:off x="338535" y="-360000"/>
            <a:ext cx="0" cy="180000"/>
          </a:xfrm>
          <a:prstGeom prst="line">
            <a:avLst/>
          </a:prstGeom>
          <a:solidFill>
            <a:schemeClr val="tx2"/>
          </a:solidFill>
          <a:ln w="127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90" r:id="rId3"/>
    <p:sldLayoutId id="2147483674" r:id="rId4"/>
    <p:sldLayoutId id="2147483676" r:id="rId5"/>
    <p:sldLayoutId id="2147483677" r:id="rId6"/>
    <p:sldLayoutId id="2147483678" r:id="rId7"/>
    <p:sldLayoutId id="2147483679" r:id="rId8"/>
    <p:sldLayoutId id="2147483695" r:id="rId9"/>
    <p:sldLayoutId id="2147483670" r:id="rId10"/>
    <p:sldLayoutId id="2147483692" r:id="rId11"/>
    <p:sldLayoutId id="2147483696" r:id="rId12"/>
    <p:sldLayoutId id="2147483683" r:id="rId13"/>
    <p:sldLayoutId id="2147483681" r:id="rId14"/>
    <p:sldLayoutId id="2147483697" r:id="rId15"/>
    <p:sldLayoutId id="2147483691" r:id="rId16"/>
    <p:sldLayoutId id="2147483693" r:id="rId17"/>
    <p:sldLayoutId id="2147483684" r:id="rId18"/>
    <p:sldLayoutId id="2147483685" r:id="rId19"/>
    <p:sldLayoutId id="2147483694" r:id="rId20"/>
    <p:sldLayoutId id="2147483686" r:id="rId21"/>
    <p:sldLayoutId id="2147483688" r:id="rId22"/>
    <p:sldLayoutId id="2147483698" r:id="rId23"/>
    <p:sldLayoutId id="2147483699" r:id="rId24"/>
    <p:sldLayoutId id="2147483700" r:id="rId25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ts val="1200"/>
        </a:spcAft>
        <a:buClr>
          <a:schemeClr val="accent1"/>
        </a:buClr>
        <a:buFont typeface="Arial" pitchFamily="34" charset="0"/>
        <a:buNone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indent="-180000" algn="l" rtl="0" fontAlgn="base">
        <a:lnSpc>
          <a:spcPct val="110000"/>
        </a:lnSpc>
        <a:spcBef>
          <a:spcPct val="0"/>
        </a:spcBef>
        <a:spcAft>
          <a:spcPts val="1200"/>
        </a:spcAft>
        <a:buClrTx/>
        <a:buFont typeface="Arial" pitchFamily="34" charset="0"/>
        <a:buChar char="‒"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indent="-180000" algn="l" rtl="0" fontAlgn="base">
        <a:lnSpc>
          <a:spcPct val="110000"/>
        </a:lnSpc>
        <a:spcBef>
          <a:spcPct val="0"/>
        </a:spcBef>
        <a:spcAft>
          <a:spcPts val="1200"/>
        </a:spcAft>
        <a:buClrTx/>
        <a:buFont typeface="Arial" pitchFamily="34" charset="0"/>
        <a:buChar char="‒"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indent="-180000" algn="l" rtl="0" fontAlgn="base">
        <a:lnSpc>
          <a:spcPct val="110000"/>
        </a:lnSpc>
        <a:spcBef>
          <a:spcPct val="0"/>
        </a:spcBef>
        <a:spcAft>
          <a:spcPts val="1200"/>
        </a:spcAft>
        <a:buClrTx/>
        <a:buFont typeface="Arial" pitchFamily="34" charset="0"/>
        <a:buChar char="‒"/>
        <a:tabLst/>
        <a:defRPr sz="18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fontAlgn="base">
        <a:lnSpc>
          <a:spcPct val="110000"/>
        </a:lnSpc>
        <a:spcBef>
          <a:spcPct val="0"/>
        </a:spcBef>
        <a:spcAft>
          <a:spcPts val="1200"/>
        </a:spcAft>
        <a:buClrTx/>
        <a:buFont typeface="Arial" pitchFamily="34" charset="0"/>
        <a:buChar char="‒"/>
        <a:tabLst/>
        <a:defRPr sz="18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2.jpeg"/><Relationship Id="rId2" Type="http://schemas.openxmlformats.org/officeDocument/2006/relationships/tags" Target="../tags/tag13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5.vml"/><Relationship Id="rId6" Type="http://schemas.openxmlformats.org/officeDocument/2006/relationships/tags" Target="../tags/tag140.xml"/><Relationship Id="rId11" Type="http://schemas.openxmlformats.org/officeDocument/2006/relationships/image" Target="../media/image15.emf"/><Relationship Id="rId5" Type="http://schemas.openxmlformats.org/officeDocument/2006/relationships/tags" Target="../tags/tag139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38.xml"/><Relationship Id="rId9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7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6.jpeg"/><Relationship Id="rId2" Type="http://schemas.openxmlformats.org/officeDocument/2006/relationships/tags" Target="../tags/tag13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1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7.jpeg"/><Relationship Id="rId2" Type="http://schemas.openxmlformats.org/officeDocument/2006/relationships/tags" Target="../tags/tag1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5.jpeg"/><Relationship Id="rId4" Type="http://schemas.openxmlformats.org/officeDocument/2006/relationships/hyperlink" Target="https://intranet.workspace.siemens.ca/content/10002912/CC%20Images/SCETA%20-%20Siemens%20Canada%20Engineering%20and%20Technology%20Academy/Mechatronics%20Lab.jpg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331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86" b="7906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ctrTitle"/>
          </p:nvPr>
        </p:nvSpPr>
        <p:spPr bwMode="gray">
          <a:xfrm>
            <a:off x="4914879" y="3185184"/>
            <a:ext cx="6800871" cy="2617313"/>
          </a:xfrm>
        </p:spPr>
        <p:txBody>
          <a:bodyPr/>
          <a:lstStyle/>
          <a:p>
            <a:r>
              <a:rPr lang="fr-CA" dirty="0" smtClean="0"/>
              <a:t>La </a:t>
            </a:r>
            <a:r>
              <a:rPr lang="fr-CA" dirty="0"/>
              <a:t>numérisation : </a:t>
            </a:r>
            <a:r>
              <a:rPr lang="fr-CA" dirty="0" smtClean="0"/>
              <a:t/>
            </a:r>
            <a:br>
              <a:rPr lang="fr-CA" dirty="0" smtClean="0"/>
            </a:br>
            <a:r>
              <a:rPr lang="fr-CA" dirty="0" smtClean="0"/>
              <a:t>plus </a:t>
            </a:r>
            <a:r>
              <a:rPr lang="fr-CA" dirty="0"/>
              <a:t>qu’une simple </a:t>
            </a:r>
            <a:r>
              <a:rPr lang="fr-CA" dirty="0" smtClean="0"/>
              <a:t>technologie</a:t>
            </a:r>
            <a:r>
              <a:rPr lang="en-US" dirty="0"/>
              <a:t/>
            </a:r>
            <a:br>
              <a:rPr lang="en-US" dirty="0"/>
            </a:br>
            <a:r>
              <a:rPr lang="en-US" sz="1000" dirty="0" smtClean="0">
                <a:solidFill>
                  <a:schemeClr val="bg1"/>
                </a:solidFill>
              </a:rPr>
              <a:t/>
            </a:r>
            <a:br>
              <a:rPr lang="en-US" sz="1000" dirty="0" smtClean="0">
                <a:solidFill>
                  <a:schemeClr val="bg1"/>
                </a:solidFill>
              </a:rPr>
            </a:br>
            <a:r>
              <a:rPr lang="en-US" sz="2000" b="0" dirty="0" smtClean="0">
                <a:solidFill>
                  <a:schemeClr val="bg1"/>
                </a:solidFill>
              </a:rPr>
              <a:t>Stéphane Chayer I </a:t>
            </a:r>
            <a:r>
              <a:rPr lang="fr-CA" sz="2000" b="0" dirty="0"/>
              <a:t>Montréal, 7 avril 2017</a:t>
            </a:r>
            <a:endParaRPr lang="en-US" sz="2000" b="0" dirty="0">
              <a:solidFill>
                <a:schemeClr val="bg1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 bwMode="gray">
          <a:xfrm>
            <a:off x="4914880" y="5907600"/>
            <a:ext cx="6800870" cy="324000"/>
          </a:xfrm>
        </p:spPr>
        <p:txBody>
          <a:bodyPr/>
          <a:lstStyle/>
          <a:p>
            <a:r>
              <a:rPr lang="en-US" dirty="0"/>
              <a:t>siemens.com/innovat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4914880" y="5907600"/>
            <a:ext cx="2340000" cy="324000"/>
          </a:xfrm>
        </p:spPr>
        <p:txBody>
          <a:bodyPr/>
          <a:lstStyle/>
          <a:p>
            <a:r>
              <a:rPr lang="en-US" dirty="0" smtClean="0"/>
              <a:t>Unrestricted </a:t>
            </a:r>
            <a:r>
              <a:rPr lang="en-US" dirty="0"/>
              <a:t>© Siemens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12700"/>
            <a:ext cx="176330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  <a:buFont typeface="Arial" panose="020B0604020202020204" pitchFamily="34" charset="0"/>
              <a:buChar char="‒"/>
            </a:pPr>
            <a:endParaRPr lang="en-US" sz="100" dirty="0" smtClean="0">
              <a:solidFill>
                <a:srgbClr val="FFFFFF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9577387" y="328613"/>
            <a:ext cx="2138363" cy="897731"/>
          </a:xfrm>
          <a:prstGeom prst="rect">
            <a:avLst/>
          </a:prstGeom>
        </p:spPr>
      </p:pic>
      <p:pic>
        <p:nvPicPr>
          <p:cNvPr id="11" name="Picture 2" descr="C:\Users\heidbu-l\Desktop\sie-logo-layer-claim-fr-petrol-rgb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187465" y="332570"/>
            <a:ext cx="3749920" cy="10948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2165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 descr="C:\Users\FEEDBA~1\AppData\Local\Temp\vmware-feedbackuser\VMwareDnD\fe064ed0\Digitalization_Day_Background_blue_dark_hexadezimal_code_kor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88"/>
          <a:stretch>
            <a:fillRect/>
          </a:stretch>
        </p:blipFill>
        <p:spPr bwMode="auto">
          <a:xfrm>
            <a:off x="775" y="1268413"/>
            <a:ext cx="12196800" cy="5592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La chasse à la compétitivité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auto">
          <a:xfrm>
            <a:off x="2109804" y="4149100"/>
            <a:ext cx="7200000" cy="144000"/>
          </a:xfrm>
          <a:prstGeom prst="rect">
            <a:avLst/>
          </a:prstGeom>
          <a:solidFill>
            <a:srgbClr val="AAAA9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9" name="Schale links"/>
          <p:cNvSpPr/>
          <p:nvPr/>
        </p:nvSpPr>
        <p:spPr bwMode="auto">
          <a:xfrm>
            <a:off x="770375" y="3904662"/>
            <a:ext cx="2880000" cy="432000"/>
          </a:xfrm>
          <a:custGeom>
            <a:avLst/>
            <a:gdLst/>
            <a:ahLst/>
            <a:cxnLst/>
            <a:rect l="l" t="t" r="r" b="b"/>
            <a:pathLst>
              <a:path w="2919980" h="504070">
                <a:moveTo>
                  <a:pt x="0" y="0"/>
                </a:moveTo>
                <a:lnTo>
                  <a:pt x="2919980" y="0"/>
                </a:lnTo>
                <a:cubicBezTo>
                  <a:pt x="2518272" y="316509"/>
                  <a:pt x="2011035" y="504070"/>
                  <a:pt x="1459990" y="504070"/>
                </a:cubicBezTo>
                <a:cubicBezTo>
                  <a:pt x="908946" y="504070"/>
                  <a:pt x="401708" y="316509"/>
                  <a:pt x="0" y="0"/>
                </a:cubicBezTo>
                <a:close/>
              </a:path>
            </a:pathLst>
          </a:custGeom>
          <a:solidFill>
            <a:srgbClr val="AAAA9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1" name="Schale rechts"/>
          <p:cNvSpPr/>
          <p:nvPr/>
        </p:nvSpPr>
        <p:spPr bwMode="auto">
          <a:xfrm>
            <a:off x="7869804" y="3905162"/>
            <a:ext cx="2880000" cy="432000"/>
          </a:xfrm>
          <a:custGeom>
            <a:avLst/>
            <a:gdLst/>
            <a:ahLst/>
            <a:cxnLst/>
            <a:rect l="l" t="t" r="r" b="b"/>
            <a:pathLst>
              <a:path w="2919980" h="504070">
                <a:moveTo>
                  <a:pt x="0" y="0"/>
                </a:moveTo>
                <a:lnTo>
                  <a:pt x="2919980" y="0"/>
                </a:lnTo>
                <a:cubicBezTo>
                  <a:pt x="2518272" y="316509"/>
                  <a:pt x="2011035" y="504070"/>
                  <a:pt x="1459990" y="504070"/>
                </a:cubicBezTo>
                <a:cubicBezTo>
                  <a:pt x="908946" y="504070"/>
                  <a:pt x="401708" y="316509"/>
                  <a:pt x="0" y="0"/>
                </a:cubicBezTo>
                <a:close/>
              </a:path>
            </a:pathLst>
          </a:custGeom>
          <a:solidFill>
            <a:srgbClr val="AAAA96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2" name="What"/>
          <p:cNvSpPr/>
          <p:nvPr/>
        </p:nvSpPr>
        <p:spPr bwMode="auto">
          <a:xfrm>
            <a:off x="482855" y="1772770"/>
            <a:ext cx="3384010" cy="2088080"/>
          </a:xfrm>
          <a:prstGeom prst="rect">
            <a:avLst/>
          </a:pr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  <a:extLst/>
        </p:spPr>
        <p:txBody>
          <a:bodyPr wrap="square" lIns="287942" tIns="144000" rIns="215957" bIns="216000" anchor="t">
            <a:noAutofit/>
          </a:bodyPr>
          <a:lstStyle/>
          <a:p>
            <a:pPr algn="ctr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  <a:buFont typeface="Wingdings" charset="0"/>
              <a:buNone/>
            </a:pPr>
            <a:r>
              <a:rPr lang="en-US" altLang="de-DE" sz="4800" b="1" dirty="0" smtClean="0">
                <a:solidFill>
                  <a:srgbClr val="FFFFFF"/>
                </a:solidFill>
                <a:latin typeface="Arial"/>
                <a:ea typeface="ＭＳ Ｐゴシック" charset="-128"/>
                <a:cs typeface="Arial" charset="0"/>
              </a:rPr>
              <a:t>QUOI</a:t>
            </a:r>
          </a:p>
          <a:p>
            <a:pPr algn="ctr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</a:pPr>
            <a:endParaRPr lang="en-US" altLang="de-DE" sz="4800" b="1" dirty="0" smtClean="0">
              <a:solidFill>
                <a:srgbClr val="FFFFFF"/>
              </a:solidFill>
              <a:latin typeface="Arial"/>
              <a:ea typeface="ＭＳ Ｐゴシック" charset="-128"/>
              <a:cs typeface="Arial" charset="0"/>
            </a:endParaRPr>
          </a:p>
          <a:p>
            <a:pPr algn="ctr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  <a:buFont typeface="Wingdings" charset="0"/>
              <a:buNone/>
            </a:pPr>
            <a:endParaRPr lang="en-US" altLang="de-DE" sz="4800" b="1" dirty="0" smtClean="0">
              <a:solidFill>
                <a:srgbClr val="FFFFFF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sp>
        <p:nvSpPr>
          <p:cNvPr id="25" name="How"/>
          <p:cNvSpPr/>
          <p:nvPr/>
        </p:nvSpPr>
        <p:spPr bwMode="auto">
          <a:xfrm>
            <a:off x="7395355" y="1772770"/>
            <a:ext cx="3960550" cy="2088000"/>
          </a:xfrm>
          <a:prstGeom prst="rect">
            <a:avLst/>
          </a:pr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  <a:extLst/>
        </p:spPr>
        <p:txBody>
          <a:bodyPr wrap="square" lIns="287942" tIns="144000" rIns="215957" bIns="216000" anchor="t">
            <a:noAutofit/>
          </a:bodyPr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  <a:buFont typeface="Arial" charset="0"/>
              <a:buNone/>
            </a:pPr>
            <a:r>
              <a:rPr lang="en-US" altLang="de-DE" sz="4800" b="1" dirty="0" smtClean="0">
                <a:solidFill>
                  <a:srgbClr val="FFFFFF"/>
                </a:solidFill>
                <a:latin typeface="Arial"/>
                <a:ea typeface="ＭＳ Ｐゴシック" charset="-128"/>
                <a:cs typeface="Arial" charset="0"/>
              </a:rPr>
              <a:t>COMMENT</a:t>
            </a:r>
          </a:p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</a:pPr>
            <a:r>
              <a:rPr lang="fr-CA" altLang="de-DE" sz="3200" b="1" dirty="0" smtClean="0">
                <a:solidFill>
                  <a:srgbClr val="FFFFFF"/>
                </a:solidFill>
                <a:latin typeface="Arial"/>
                <a:cs typeface="Arial" charset="0"/>
              </a:rPr>
              <a:t>En numérisant</a:t>
            </a:r>
            <a:endParaRPr lang="en-US" altLang="de-DE" sz="3200" b="1" dirty="0" smtClean="0">
              <a:solidFill>
                <a:srgbClr val="FFFFFF"/>
              </a:solidFill>
              <a:latin typeface="Arial"/>
              <a:cs typeface="Arial" charset="0"/>
            </a:endParaRPr>
          </a:p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  <a:buFont typeface="Arial" charset="0"/>
              <a:buNone/>
            </a:pPr>
            <a:endParaRPr lang="en-US" altLang="de-DE" sz="2800" b="1" dirty="0" smtClean="0">
              <a:solidFill>
                <a:srgbClr val="FFFFFF"/>
              </a:solidFill>
              <a:latin typeface="Arial"/>
              <a:ea typeface="ＭＳ Ｐゴシック" charset="-128"/>
              <a:cs typeface="Arial" charset="0"/>
            </a:endParaRPr>
          </a:p>
        </p:txBody>
      </p:sp>
      <p:grpSp>
        <p:nvGrpSpPr>
          <p:cNvPr id="3" name="Group 36"/>
          <p:cNvGrpSpPr/>
          <p:nvPr/>
        </p:nvGrpSpPr>
        <p:grpSpPr>
          <a:xfrm>
            <a:off x="4773967" y="4336662"/>
            <a:ext cx="2298030" cy="2301501"/>
            <a:chOff x="5019025" y="4295939"/>
            <a:chExt cx="2298030" cy="2301501"/>
          </a:xfrm>
        </p:grpSpPr>
        <p:grpSp>
          <p:nvGrpSpPr>
            <p:cNvPr id="4" name="Gruppieren 2"/>
            <p:cNvGrpSpPr>
              <a:grpSpLocks noChangeAspect="1"/>
            </p:cNvGrpSpPr>
            <p:nvPr/>
          </p:nvGrpSpPr>
          <p:grpSpPr>
            <a:xfrm>
              <a:off x="5019025" y="4295939"/>
              <a:ext cx="2298030" cy="2301501"/>
              <a:chOff x="4184644" y="1412720"/>
              <a:chExt cx="3960000" cy="3965982"/>
            </a:xfrm>
          </p:grpSpPr>
          <p:sp>
            <p:nvSpPr>
              <p:cNvPr id="26" name="Ellipse 142"/>
              <p:cNvSpPr/>
              <p:nvPr/>
            </p:nvSpPr>
            <p:spPr bwMode="auto">
              <a:xfrm>
                <a:off x="4184644" y="1412720"/>
                <a:ext cx="3960000" cy="3960000"/>
              </a:xfrm>
              <a:prstGeom prst="ellipse">
                <a:avLst/>
              </a:prstGeom>
              <a:solidFill>
                <a:srgbClr val="879628"/>
              </a:solidFill>
              <a:ln>
                <a:noFill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b="1" dirty="0" smtClean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27" name="Picture 2" descr="C:\Users\FEEDBA~1\AppData\Local\Temp\vmware-feedbackuser\VMwareDnD\ff00417f\6327_Ownership-Culture.emf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09191" y="1418702"/>
                <a:ext cx="3888537" cy="396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5595105" y="5200232"/>
              <a:ext cx="1152160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2000" dirty="0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VISION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2000" dirty="0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2020</a:t>
              </a:r>
            </a:p>
          </p:txBody>
        </p:sp>
      </p:grpSp>
      <p:grpSp>
        <p:nvGrpSpPr>
          <p:cNvPr id="5" name="Group 9"/>
          <p:cNvGrpSpPr>
            <a:grpSpLocks noChangeAspect="1"/>
          </p:cNvGrpSpPr>
          <p:nvPr/>
        </p:nvGrpSpPr>
        <p:grpSpPr bwMode="auto">
          <a:xfrm>
            <a:off x="-21675" y="4575784"/>
            <a:ext cx="4802996" cy="1877636"/>
            <a:chOff x="1010" y="15"/>
            <a:chExt cx="5634" cy="4290"/>
          </a:xfrm>
          <a:solidFill>
            <a:srgbClr val="9BAFBE"/>
          </a:solidFill>
        </p:grpSpPr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1272" y="15"/>
              <a:ext cx="5114" cy="4290"/>
            </a:xfrm>
            <a:custGeom>
              <a:avLst/>
              <a:gdLst>
                <a:gd name="T0" fmla="*/ 0 w 1362"/>
                <a:gd name="T1" fmla="*/ 634 h 1142"/>
                <a:gd name="T2" fmla="*/ 24 w 1362"/>
                <a:gd name="T3" fmla="*/ 570 h 1142"/>
                <a:gd name="T4" fmla="*/ 40 w 1362"/>
                <a:gd name="T5" fmla="*/ 670 h 1142"/>
                <a:gd name="T6" fmla="*/ 58 w 1362"/>
                <a:gd name="T7" fmla="*/ 592 h 1142"/>
                <a:gd name="T8" fmla="*/ 82 w 1362"/>
                <a:gd name="T9" fmla="*/ 662 h 1142"/>
                <a:gd name="T10" fmla="*/ 96 w 1362"/>
                <a:gd name="T11" fmla="*/ 602 h 1142"/>
                <a:gd name="T12" fmla="*/ 118 w 1362"/>
                <a:gd name="T13" fmla="*/ 680 h 1142"/>
                <a:gd name="T14" fmla="*/ 140 w 1362"/>
                <a:gd name="T15" fmla="*/ 550 h 1142"/>
                <a:gd name="T16" fmla="*/ 160 w 1362"/>
                <a:gd name="T17" fmla="*/ 742 h 1142"/>
                <a:gd name="T18" fmla="*/ 188 w 1362"/>
                <a:gd name="T19" fmla="*/ 484 h 1142"/>
                <a:gd name="T20" fmla="*/ 202 w 1362"/>
                <a:gd name="T21" fmla="*/ 896 h 1142"/>
                <a:gd name="T22" fmla="*/ 228 w 1362"/>
                <a:gd name="T23" fmla="*/ 350 h 1142"/>
                <a:gd name="T24" fmla="*/ 248 w 1362"/>
                <a:gd name="T25" fmla="*/ 958 h 1142"/>
                <a:gd name="T26" fmla="*/ 268 w 1362"/>
                <a:gd name="T27" fmla="*/ 292 h 1142"/>
                <a:gd name="T28" fmla="*/ 294 w 1362"/>
                <a:gd name="T29" fmla="*/ 894 h 1142"/>
                <a:gd name="T30" fmla="*/ 310 w 1362"/>
                <a:gd name="T31" fmla="*/ 360 h 1142"/>
                <a:gd name="T32" fmla="*/ 334 w 1362"/>
                <a:gd name="T33" fmla="*/ 834 h 1142"/>
                <a:gd name="T34" fmla="*/ 346 w 1362"/>
                <a:gd name="T35" fmla="*/ 454 h 1142"/>
                <a:gd name="T36" fmla="*/ 370 w 1362"/>
                <a:gd name="T37" fmla="*/ 784 h 1142"/>
                <a:gd name="T38" fmla="*/ 390 w 1362"/>
                <a:gd name="T39" fmla="*/ 508 h 1142"/>
                <a:gd name="T40" fmla="*/ 410 w 1362"/>
                <a:gd name="T41" fmla="*/ 758 h 1142"/>
                <a:gd name="T42" fmla="*/ 436 w 1362"/>
                <a:gd name="T43" fmla="*/ 536 h 1142"/>
                <a:gd name="T44" fmla="*/ 452 w 1362"/>
                <a:gd name="T45" fmla="*/ 710 h 1142"/>
                <a:gd name="T46" fmla="*/ 478 w 1362"/>
                <a:gd name="T47" fmla="*/ 590 h 1142"/>
                <a:gd name="T48" fmla="*/ 516 w 1362"/>
                <a:gd name="T49" fmla="*/ 690 h 1142"/>
                <a:gd name="T50" fmla="*/ 542 w 1362"/>
                <a:gd name="T51" fmla="*/ 598 h 1142"/>
                <a:gd name="T52" fmla="*/ 582 w 1362"/>
                <a:gd name="T53" fmla="*/ 666 h 1142"/>
                <a:gd name="T54" fmla="*/ 618 w 1362"/>
                <a:gd name="T55" fmla="*/ 606 h 1142"/>
                <a:gd name="T56" fmla="*/ 684 w 1362"/>
                <a:gd name="T57" fmla="*/ 664 h 1142"/>
                <a:gd name="T58" fmla="*/ 746 w 1362"/>
                <a:gd name="T59" fmla="*/ 608 h 1142"/>
                <a:gd name="T60" fmla="*/ 796 w 1362"/>
                <a:gd name="T61" fmla="*/ 662 h 1142"/>
                <a:gd name="T62" fmla="*/ 826 w 1362"/>
                <a:gd name="T63" fmla="*/ 476 h 1142"/>
                <a:gd name="T64" fmla="*/ 838 w 1362"/>
                <a:gd name="T65" fmla="*/ 798 h 1142"/>
                <a:gd name="T66" fmla="*/ 850 w 1362"/>
                <a:gd name="T67" fmla="*/ 426 h 1142"/>
                <a:gd name="T68" fmla="*/ 868 w 1362"/>
                <a:gd name="T69" fmla="*/ 846 h 1142"/>
                <a:gd name="T70" fmla="*/ 884 w 1362"/>
                <a:gd name="T71" fmla="*/ 0 h 1142"/>
                <a:gd name="T72" fmla="*/ 898 w 1362"/>
                <a:gd name="T73" fmla="*/ 1142 h 1142"/>
                <a:gd name="T74" fmla="*/ 924 w 1362"/>
                <a:gd name="T75" fmla="*/ 322 h 1142"/>
                <a:gd name="T76" fmla="*/ 932 w 1362"/>
                <a:gd name="T77" fmla="*/ 932 h 1142"/>
                <a:gd name="T78" fmla="*/ 948 w 1362"/>
                <a:gd name="T79" fmla="*/ 112 h 1142"/>
                <a:gd name="T80" fmla="*/ 962 w 1362"/>
                <a:gd name="T81" fmla="*/ 1124 h 1142"/>
                <a:gd name="T82" fmla="*/ 988 w 1362"/>
                <a:gd name="T83" fmla="*/ 32 h 1142"/>
                <a:gd name="T84" fmla="*/ 996 w 1362"/>
                <a:gd name="T85" fmla="*/ 994 h 1142"/>
                <a:gd name="T86" fmla="*/ 1016 w 1362"/>
                <a:gd name="T87" fmla="*/ 154 h 1142"/>
                <a:gd name="T88" fmla="*/ 1028 w 1362"/>
                <a:gd name="T89" fmla="*/ 876 h 1142"/>
                <a:gd name="T90" fmla="*/ 1056 w 1362"/>
                <a:gd name="T91" fmla="*/ 278 h 1142"/>
                <a:gd name="T92" fmla="*/ 1072 w 1362"/>
                <a:gd name="T93" fmla="*/ 818 h 1142"/>
                <a:gd name="T94" fmla="*/ 1108 w 1362"/>
                <a:gd name="T95" fmla="*/ 480 h 1142"/>
                <a:gd name="T96" fmla="*/ 1132 w 1362"/>
                <a:gd name="T97" fmla="*/ 862 h 1142"/>
                <a:gd name="T98" fmla="*/ 1156 w 1362"/>
                <a:gd name="T99" fmla="*/ 522 h 1142"/>
                <a:gd name="T100" fmla="*/ 1190 w 1362"/>
                <a:gd name="T101" fmla="*/ 712 h 1142"/>
                <a:gd name="T102" fmla="*/ 1220 w 1362"/>
                <a:gd name="T103" fmla="*/ 580 h 1142"/>
                <a:gd name="T104" fmla="*/ 1248 w 1362"/>
                <a:gd name="T105" fmla="*/ 652 h 1142"/>
                <a:gd name="T106" fmla="*/ 1282 w 1362"/>
                <a:gd name="T107" fmla="*/ 608 h 1142"/>
                <a:gd name="T108" fmla="*/ 1328 w 1362"/>
                <a:gd name="T109" fmla="*/ 644 h 1142"/>
                <a:gd name="T110" fmla="*/ 1362 w 1362"/>
                <a:gd name="T111" fmla="*/ 628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62" h="1142">
                  <a:moveTo>
                    <a:pt x="0" y="634"/>
                  </a:moveTo>
                  <a:cubicBezTo>
                    <a:pt x="9" y="596"/>
                    <a:pt x="18" y="570"/>
                    <a:pt x="24" y="570"/>
                  </a:cubicBezTo>
                  <a:cubicBezTo>
                    <a:pt x="36" y="572"/>
                    <a:pt x="34" y="670"/>
                    <a:pt x="40" y="670"/>
                  </a:cubicBezTo>
                  <a:cubicBezTo>
                    <a:pt x="46" y="671"/>
                    <a:pt x="49" y="593"/>
                    <a:pt x="58" y="592"/>
                  </a:cubicBezTo>
                  <a:cubicBezTo>
                    <a:pt x="67" y="592"/>
                    <a:pt x="74" y="663"/>
                    <a:pt x="82" y="662"/>
                  </a:cubicBezTo>
                  <a:cubicBezTo>
                    <a:pt x="89" y="662"/>
                    <a:pt x="90" y="603"/>
                    <a:pt x="96" y="602"/>
                  </a:cubicBezTo>
                  <a:cubicBezTo>
                    <a:pt x="104" y="602"/>
                    <a:pt x="110" y="681"/>
                    <a:pt x="118" y="680"/>
                  </a:cubicBezTo>
                  <a:cubicBezTo>
                    <a:pt x="129" y="680"/>
                    <a:pt x="133" y="550"/>
                    <a:pt x="140" y="550"/>
                  </a:cubicBezTo>
                  <a:cubicBezTo>
                    <a:pt x="149" y="550"/>
                    <a:pt x="151" y="742"/>
                    <a:pt x="160" y="742"/>
                  </a:cubicBezTo>
                  <a:cubicBezTo>
                    <a:pt x="170" y="743"/>
                    <a:pt x="180" y="484"/>
                    <a:pt x="188" y="484"/>
                  </a:cubicBezTo>
                  <a:cubicBezTo>
                    <a:pt x="198" y="485"/>
                    <a:pt x="196" y="896"/>
                    <a:pt x="202" y="896"/>
                  </a:cubicBezTo>
                  <a:cubicBezTo>
                    <a:pt x="209" y="897"/>
                    <a:pt x="219" y="350"/>
                    <a:pt x="228" y="350"/>
                  </a:cubicBezTo>
                  <a:cubicBezTo>
                    <a:pt x="238" y="351"/>
                    <a:pt x="241" y="958"/>
                    <a:pt x="248" y="958"/>
                  </a:cubicBezTo>
                  <a:cubicBezTo>
                    <a:pt x="255" y="958"/>
                    <a:pt x="258" y="293"/>
                    <a:pt x="268" y="292"/>
                  </a:cubicBezTo>
                  <a:cubicBezTo>
                    <a:pt x="277" y="292"/>
                    <a:pt x="286" y="895"/>
                    <a:pt x="294" y="894"/>
                  </a:cubicBezTo>
                  <a:cubicBezTo>
                    <a:pt x="302" y="894"/>
                    <a:pt x="302" y="361"/>
                    <a:pt x="310" y="360"/>
                  </a:cubicBezTo>
                  <a:cubicBezTo>
                    <a:pt x="318" y="360"/>
                    <a:pt x="327" y="835"/>
                    <a:pt x="334" y="834"/>
                  </a:cubicBezTo>
                  <a:cubicBezTo>
                    <a:pt x="340" y="834"/>
                    <a:pt x="339" y="455"/>
                    <a:pt x="346" y="454"/>
                  </a:cubicBezTo>
                  <a:cubicBezTo>
                    <a:pt x="353" y="454"/>
                    <a:pt x="361" y="785"/>
                    <a:pt x="370" y="784"/>
                  </a:cubicBezTo>
                  <a:cubicBezTo>
                    <a:pt x="379" y="784"/>
                    <a:pt x="382" y="508"/>
                    <a:pt x="390" y="508"/>
                  </a:cubicBezTo>
                  <a:cubicBezTo>
                    <a:pt x="397" y="508"/>
                    <a:pt x="400" y="758"/>
                    <a:pt x="410" y="758"/>
                  </a:cubicBezTo>
                  <a:cubicBezTo>
                    <a:pt x="419" y="759"/>
                    <a:pt x="428" y="536"/>
                    <a:pt x="436" y="536"/>
                  </a:cubicBezTo>
                  <a:cubicBezTo>
                    <a:pt x="443" y="537"/>
                    <a:pt x="444" y="710"/>
                    <a:pt x="452" y="710"/>
                  </a:cubicBezTo>
                  <a:cubicBezTo>
                    <a:pt x="459" y="711"/>
                    <a:pt x="463" y="591"/>
                    <a:pt x="478" y="590"/>
                  </a:cubicBezTo>
                  <a:cubicBezTo>
                    <a:pt x="492" y="590"/>
                    <a:pt x="503" y="691"/>
                    <a:pt x="516" y="690"/>
                  </a:cubicBezTo>
                  <a:cubicBezTo>
                    <a:pt x="528" y="690"/>
                    <a:pt x="528" y="600"/>
                    <a:pt x="542" y="598"/>
                  </a:cubicBezTo>
                  <a:cubicBezTo>
                    <a:pt x="555" y="597"/>
                    <a:pt x="566" y="667"/>
                    <a:pt x="582" y="666"/>
                  </a:cubicBezTo>
                  <a:cubicBezTo>
                    <a:pt x="597" y="666"/>
                    <a:pt x="598" y="610"/>
                    <a:pt x="618" y="606"/>
                  </a:cubicBezTo>
                  <a:cubicBezTo>
                    <a:pt x="640" y="603"/>
                    <a:pt x="655" y="665"/>
                    <a:pt x="684" y="664"/>
                  </a:cubicBezTo>
                  <a:cubicBezTo>
                    <a:pt x="711" y="664"/>
                    <a:pt x="721" y="608"/>
                    <a:pt x="746" y="608"/>
                  </a:cubicBezTo>
                  <a:cubicBezTo>
                    <a:pt x="771" y="609"/>
                    <a:pt x="782" y="664"/>
                    <a:pt x="796" y="662"/>
                  </a:cubicBezTo>
                  <a:cubicBezTo>
                    <a:pt x="822" y="660"/>
                    <a:pt x="823" y="476"/>
                    <a:pt x="826" y="476"/>
                  </a:cubicBezTo>
                  <a:cubicBezTo>
                    <a:pt x="831" y="476"/>
                    <a:pt x="835" y="798"/>
                    <a:pt x="838" y="798"/>
                  </a:cubicBezTo>
                  <a:cubicBezTo>
                    <a:pt x="841" y="798"/>
                    <a:pt x="844" y="427"/>
                    <a:pt x="850" y="426"/>
                  </a:cubicBezTo>
                  <a:cubicBezTo>
                    <a:pt x="857" y="426"/>
                    <a:pt x="862" y="846"/>
                    <a:pt x="868" y="846"/>
                  </a:cubicBezTo>
                  <a:cubicBezTo>
                    <a:pt x="877" y="846"/>
                    <a:pt x="880" y="0"/>
                    <a:pt x="884" y="0"/>
                  </a:cubicBezTo>
                  <a:cubicBezTo>
                    <a:pt x="889" y="0"/>
                    <a:pt x="888" y="1142"/>
                    <a:pt x="898" y="1142"/>
                  </a:cubicBezTo>
                  <a:cubicBezTo>
                    <a:pt x="906" y="1142"/>
                    <a:pt x="917" y="322"/>
                    <a:pt x="924" y="322"/>
                  </a:cubicBezTo>
                  <a:cubicBezTo>
                    <a:pt x="930" y="323"/>
                    <a:pt x="928" y="932"/>
                    <a:pt x="932" y="932"/>
                  </a:cubicBezTo>
                  <a:cubicBezTo>
                    <a:pt x="937" y="932"/>
                    <a:pt x="942" y="112"/>
                    <a:pt x="948" y="112"/>
                  </a:cubicBezTo>
                  <a:cubicBezTo>
                    <a:pt x="954" y="112"/>
                    <a:pt x="954" y="1124"/>
                    <a:pt x="962" y="1124"/>
                  </a:cubicBezTo>
                  <a:cubicBezTo>
                    <a:pt x="971" y="1124"/>
                    <a:pt x="982" y="32"/>
                    <a:pt x="988" y="32"/>
                  </a:cubicBezTo>
                  <a:cubicBezTo>
                    <a:pt x="994" y="33"/>
                    <a:pt x="991" y="994"/>
                    <a:pt x="996" y="994"/>
                  </a:cubicBezTo>
                  <a:cubicBezTo>
                    <a:pt x="1001" y="994"/>
                    <a:pt x="1010" y="154"/>
                    <a:pt x="1016" y="154"/>
                  </a:cubicBezTo>
                  <a:cubicBezTo>
                    <a:pt x="1022" y="155"/>
                    <a:pt x="1019" y="876"/>
                    <a:pt x="1028" y="876"/>
                  </a:cubicBezTo>
                  <a:cubicBezTo>
                    <a:pt x="1036" y="877"/>
                    <a:pt x="1048" y="278"/>
                    <a:pt x="1056" y="278"/>
                  </a:cubicBezTo>
                  <a:cubicBezTo>
                    <a:pt x="1063" y="279"/>
                    <a:pt x="1059" y="818"/>
                    <a:pt x="1072" y="818"/>
                  </a:cubicBezTo>
                  <a:cubicBezTo>
                    <a:pt x="1083" y="819"/>
                    <a:pt x="1095" y="480"/>
                    <a:pt x="1108" y="480"/>
                  </a:cubicBezTo>
                  <a:cubicBezTo>
                    <a:pt x="1122" y="481"/>
                    <a:pt x="1125" y="862"/>
                    <a:pt x="1132" y="862"/>
                  </a:cubicBezTo>
                  <a:cubicBezTo>
                    <a:pt x="1139" y="862"/>
                    <a:pt x="1142" y="523"/>
                    <a:pt x="1156" y="522"/>
                  </a:cubicBezTo>
                  <a:cubicBezTo>
                    <a:pt x="1166" y="522"/>
                    <a:pt x="1176" y="713"/>
                    <a:pt x="1190" y="712"/>
                  </a:cubicBezTo>
                  <a:cubicBezTo>
                    <a:pt x="1202" y="712"/>
                    <a:pt x="1208" y="580"/>
                    <a:pt x="1220" y="580"/>
                  </a:cubicBezTo>
                  <a:cubicBezTo>
                    <a:pt x="1229" y="581"/>
                    <a:pt x="1233" y="652"/>
                    <a:pt x="1248" y="652"/>
                  </a:cubicBezTo>
                  <a:cubicBezTo>
                    <a:pt x="1260" y="653"/>
                    <a:pt x="1265" y="610"/>
                    <a:pt x="1282" y="608"/>
                  </a:cubicBezTo>
                  <a:cubicBezTo>
                    <a:pt x="1298" y="607"/>
                    <a:pt x="1305" y="641"/>
                    <a:pt x="1328" y="644"/>
                  </a:cubicBezTo>
                  <a:cubicBezTo>
                    <a:pt x="1342" y="646"/>
                    <a:pt x="1354" y="637"/>
                    <a:pt x="1362" y="628"/>
                  </a:cubicBezTo>
                </a:path>
              </a:pathLst>
            </a:custGeom>
            <a:grpFill/>
            <a:ln w="12700" cap="flat">
              <a:solidFill>
                <a:srgbClr val="C8C8B9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Line 10"/>
            <p:cNvSpPr>
              <a:spLocks noChangeShapeType="1"/>
            </p:cNvSpPr>
            <p:nvPr/>
          </p:nvSpPr>
          <p:spPr bwMode="auto">
            <a:xfrm>
              <a:off x="1010" y="2389"/>
              <a:ext cx="5634" cy="0"/>
            </a:xfrm>
            <a:prstGeom prst="line">
              <a:avLst/>
            </a:prstGeom>
            <a:grpFill/>
            <a:ln w="12700" cap="flat">
              <a:solidFill>
                <a:srgbClr val="C8C8B9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26356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4207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9"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CA" dirty="0" smtClean="0"/>
              <a:t>L’innovation ouverte est la nouvelle normalité</a:t>
            </a:r>
            <a:endParaRPr lang="en-US" dirty="0"/>
          </a:p>
        </p:txBody>
      </p:sp>
      <p:sp>
        <p:nvSpPr>
          <p:cNvPr id="13" name="BainBulletsConfiguration" hidden="1"/>
          <p:cNvSpPr txBox="1"/>
          <p:nvPr/>
        </p:nvSpPr>
        <p:spPr bwMode="gray">
          <a:xfrm>
            <a:off x="12700" y="12700"/>
            <a:ext cx="173124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  <a:buFont typeface="Arial" panose="020B0604020202020204" pitchFamily="34" charset="0"/>
              <a:buChar char="‒"/>
            </a:pPr>
            <a:endParaRPr lang="de-DE" sz="100" dirty="0" err="1" smtClean="0">
              <a:solidFill>
                <a:srgbClr val="FFFFFF"/>
              </a:solidFill>
            </a:endParaRPr>
          </a:p>
        </p:txBody>
      </p:sp>
      <p:sp>
        <p:nvSpPr>
          <p:cNvPr id="178" name="Rectangle 246"/>
          <p:cNvSpPr/>
          <p:nvPr/>
        </p:nvSpPr>
        <p:spPr bwMode="gray">
          <a:xfrm>
            <a:off x="0" y="1412875"/>
            <a:ext cx="12198350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grpSp>
        <p:nvGrpSpPr>
          <p:cNvPr id="3" name="Gruppieren 194"/>
          <p:cNvGrpSpPr/>
          <p:nvPr/>
        </p:nvGrpSpPr>
        <p:grpSpPr bwMode="gray">
          <a:xfrm>
            <a:off x="759757" y="2155742"/>
            <a:ext cx="1838060" cy="874498"/>
            <a:chOff x="759757" y="2198472"/>
            <a:chExt cx="1838060" cy="874498"/>
          </a:xfrm>
        </p:grpSpPr>
        <p:sp>
          <p:nvSpPr>
            <p:cNvPr id="209" name="Rectangle 24"/>
            <p:cNvSpPr>
              <a:spLocks noChangeArrowheads="1"/>
            </p:cNvSpPr>
            <p:nvPr/>
          </p:nvSpPr>
          <p:spPr bwMode="gray">
            <a:xfrm>
              <a:off x="1673413" y="2679868"/>
              <a:ext cx="143575" cy="11517"/>
            </a:xfrm>
            <a:prstGeom prst="rect">
              <a:avLst/>
            </a:prstGeom>
            <a:solidFill>
              <a:srgbClr val="006487"/>
            </a:solidFill>
            <a:ln w="1270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4" name="Freeform 25"/>
            <p:cNvSpPr>
              <a:spLocks/>
            </p:cNvSpPr>
            <p:nvPr/>
          </p:nvSpPr>
          <p:spPr bwMode="gray">
            <a:xfrm>
              <a:off x="1622739" y="2652996"/>
              <a:ext cx="82920" cy="65261"/>
            </a:xfrm>
            <a:custGeom>
              <a:avLst/>
              <a:gdLst>
                <a:gd name="T0" fmla="*/ 108 w 108"/>
                <a:gd name="T1" fmla="*/ 0 h 85"/>
                <a:gd name="T2" fmla="*/ 0 w 108"/>
                <a:gd name="T3" fmla="*/ 43 h 85"/>
                <a:gd name="T4" fmla="*/ 108 w 108"/>
                <a:gd name="T5" fmla="*/ 85 h 85"/>
                <a:gd name="T6" fmla="*/ 108 w 108"/>
                <a:gd name="T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85">
                  <a:moveTo>
                    <a:pt x="108" y="0"/>
                  </a:moveTo>
                  <a:lnTo>
                    <a:pt x="0" y="43"/>
                  </a:lnTo>
                  <a:lnTo>
                    <a:pt x="108" y="85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7" name="Freeform 26"/>
            <p:cNvSpPr>
              <a:spLocks noEditPoints="1"/>
            </p:cNvSpPr>
            <p:nvPr/>
          </p:nvSpPr>
          <p:spPr bwMode="gray">
            <a:xfrm>
              <a:off x="1600473" y="2642247"/>
              <a:ext cx="112864" cy="89062"/>
            </a:xfrm>
            <a:custGeom>
              <a:avLst/>
              <a:gdLst>
                <a:gd name="T0" fmla="*/ 147 w 147"/>
                <a:gd name="T1" fmla="*/ 116 h 116"/>
                <a:gd name="T2" fmla="*/ 0 w 147"/>
                <a:gd name="T3" fmla="*/ 57 h 116"/>
                <a:gd name="T4" fmla="*/ 147 w 147"/>
                <a:gd name="T5" fmla="*/ 0 h 116"/>
                <a:gd name="T6" fmla="*/ 147 w 147"/>
                <a:gd name="T7" fmla="*/ 116 h 116"/>
                <a:gd name="T8" fmla="*/ 55 w 147"/>
                <a:gd name="T9" fmla="*/ 57 h 116"/>
                <a:gd name="T10" fmla="*/ 128 w 147"/>
                <a:gd name="T11" fmla="*/ 85 h 116"/>
                <a:gd name="T12" fmla="*/ 128 w 147"/>
                <a:gd name="T13" fmla="*/ 28 h 116"/>
                <a:gd name="T14" fmla="*/ 55 w 147"/>
                <a:gd name="T15" fmla="*/ 5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7" h="116">
                  <a:moveTo>
                    <a:pt x="147" y="116"/>
                  </a:moveTo>
                  <a:lnTo>
                    <a:pt x="0" y="57"/>
                  </a:lnTo>
                  <a:lnTo>
                    <a:pt x="147" y="0"/>
                  </a:lnTo>
                  <a:lnTo>
                    <a:pt x="147" y="116"/>
                  </a:lnTo>
                  <a:close/>
                  <a:moveTo>
                    <a:pt x="55" y="57"/>
                  </a:moveTo>
                  <a:lnTo>
                    <a:pt x="128" y="85"/>
                  </a:lnTo>
                  <a:lnTo>
                    <a:pt x="128" y="28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" name="Gruppieren 239"/>
            <p:cNvGrpSpPr/>
            <p:nvPr/>
          </p:nvGrpSpPr>
          <p:grpSpPr bwMode="gray">
            <a:xfrm>
              <a:off x="759757" y="2198472"/>
              <a:ext cx="783133" cy="856072"/>
              <a:chOff x="759757" y="2198472"/>
              <a:chExt cx="783133" cy="856072"/>
            </a:xfrm>
          </p:grpSpPr>
          <p:sp>
            <p:nvSpPr>
              <p:cNvPr id="263" name="Freeform 27"/>
              <p:cNvSpPr>
                <a:spLocks noEditPoints="1"/>
              </p:cNvSpPr>
              <p:nvPr/>
            </p:nvSpPr>
            <p:spPr bwMode="gray">
              <a:xfrm>
                <a:off x="759757" y="2198472"/>
                <a:ext cx="783133" cy="856072"/>
              </a:xfrm>
              <a:custGeom>
                <a:avLst/>
                <a:gdLst>
                  <a:gd name="T0" fmla="*/ 421 w 1020"/>
                  <a:gd name="T1" fmla="*/ 1115 h 1115"/>
                  <a:gd name="T2" fmla="*/ 0 w 1020"/>
                  <a:gd name="T3" fmla="*/ 904 h 1115"/>
                  <a:gd name="T4" fmla="*/ 0 w 1020"/>
                  <a:gd name="T5" fmla="*/ 206 h 1115"/>
                  <a:gd name="T6" fmla="*/ 428 w 1020"/>
                  <a:gd name="T7" fmla="*/ 0 h 1115"/>
                  <a:gd name="T8" fmla="*/ 1020 w 1020"/>
                  <a:gd name="T9" fmla="*/ 282 h 1115"/>
                  <a:gd name="T10" fmla="*/ 1020 w 1020"/>
                  <a:gd name="T11" fmla="*/ 975 h 1115"/>
                  <a:gd name="T12" fmla="*/ 740 w 1020"/>
                  <a:gd name="T13" fmla="*/ 1108 h 1115"/>
                  <a:gd name="T14" fmla="*/ 584 w 1020"/>
                  <a:gd name="T15" fmla="*/ 1034 h 1115"/>
                  <a:gd name="T16" fmla="*/ 421 w 1020"/>
                  <a:gd name="T17" fmla="*/ 1115 h 1115"/>
                  <a:gd name="T18" fmla="*/ 9 w 1020"/>
                  <a:gd name="T19" fmla="*/ 897 h 1115"/>
                  <a:gd name="T20" fmla="*/ 421 w 1020"/>
                  <a:gd name="T21" fmla="*/ 1101 h 1115"/>
                  <a:gd name="T22" fmla="*/ 584 w 1020"/>
                  <a:gd name="T23" fmla="*/ 1023 h 1115"/>
                  <a:gd name="T24" fmla="*/ 740 w 1020"/>
                  <a:gd name="T25" fmla="*/ 1094 h 1115"/>
                  <a:gd name="T26" fmla="*/ 1010 w 1020"/>
                  <a:gd name="T27" fmla="*/ 968 h 1115"/>
                  <a:gd name="T28" fmla="*/ 1010 w 1020"/>
                  <a:gd name="T29" fmla="*/ 289 h 1115"/>
                  <a:gd name="T30" fmla="*/ 428 w 1020"/>
                  <a:gd name="T31" fmla="*/ 12 h 1115"/>
                  <a:gd name="T32" fmla="*/ 9 w 1020"/>
                  <a:gd name="T33" fmla="*/ 213 h 1115"/>
                  <a:gd name="T34" fmla="*/ 9 w 1020"/>
                  <a:gd name="T35" fmla="*/ 897 h 1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20" h="1115">
                    <a:moveTo>
                      <a:pt x="421" y="1115"/>
                    </a:moveTo>
                    <a:lnTo>
                      <a:pt x="0" y="904"/>
                    </a:lnTo>
                    <a:lnTo>
                      <a:pt x="0" y="206"/>
                    </a:lnTo>
                    <a:lnTo>
                      <a:pt x="428" y="0"/>
                    </a:lnTo>
                    <a:lnTo>
                      <a:pt x="1020" y="282"/>
                    </a:lnTo>
                    <a:lnTo>
                      <a:pt x="1020" y="975"/>
                    </a:lnTo>
                    <a:lnTo>
                      <a:pt x="740" y="1108"/>
                    </a:lnTo>
                    <a:lnTo>
                      <a:pt x="584" y="1034"/>
                    </a:lnTo>
                    <a:lnTo>
                      <a:pt x="421" y="1115"/>
                    </a:lnTo>
                    <a:close/>
                    <a:moveTo>
                      <a:pt x="9" y="897"/>
                    </a:moveTo>
                    <a:lnTo>
                      <a:pt x="421" y="1101"/>
                    </a:lnTo>
                    <a:lnTo>
                      <a:pt x="584" y="1023"/>
                    </a:lnTo>
                    <a:lnTo>
                      <a:pt x="740" y="1094"/>
                    </a:lnTo>
                    <a:lnTo>
                      <a:pt x="1010" y="968"/>
                    </a:lnTo>
                    <a:lnTo>
                      <a:pt x="1010" y="289"/>
                    </a:lnTo>
                    <a:lnTo>
                      <a:pt x="428" y="12"/>
                    </a:lnTo>
                    <a:lnTo>
                      <a:pt x="9" y="213"/>
                    </a:lnTo>
                    <a:lnTo>
                      <a:pt x="9" y="897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4" name="Freeform 28"/>
              <p:cNvSpPr>
                <a:spLocks/>
              </p:cNvSpPr>
              <p:nvPr/>
            </p:nvSpPr>
            <p:spPr bwMode="gray">
              <a:xfrm>
                <a:off x="761293" y="2358937"/>
                <a:ext cx="777759" cy="163537"/>
              </a:xfrm>
              <a:custGeom>
                <a:avLst/>
                <a:gdLst>
                  <a:gd name="T0" fmla="*/ 419 w 1013"/>
                  <a:gd name="T1" fmla="*/ 213 h 213"/>
                  <a:gd name="T2" fmla="*/ 419 w 1013"/>
                  <a:gd name="T3" fmla="*/ 210 h 213"/>
                  <a:gd name="T4" fmla="*/ 0 w 1013"/>
                  <a:gd name="T5" fmla="*/ 7 h 213"/>
                  <a:gd name="T6" fmla="*/ 3 w 1013"/>
                  <a:gd name="T7" fmla="*/ 0 h 213"/>
                  <a:gd name="T8" fmla="*/ 419 w 1013"/>
                  <a:gd name="T9" fmla="*/ 203 h 213"/>
                  <a:gd name="T10" fmla="*/ 585 w 1013"/>
                  <a:gd name="T11" fmla="*/ 123 h 213"/>
                  <a:gd name="T12" fmla="*/ 741 w 1013"/>
                  <a:gd name="T13" fmla="*/ 201 h 213"/>
                  <a:gd name="T14" fmla="*/ 1008 w 1013"/>
                  <a:gd name="T15" fmla="*/ 75 h 213"/>
                  <a:gd name="T16" fmla="*/ 1013 w 1013"/>
                  <a:gd name="T17" fmla="*/ 82 h 213"/>
                  <a:gd name="T18" fmla="*/ 741 w 1013"/>
                  <a:gd name="T19" fmla="*/ 208 h 213"/>
                  <a:gd name="T20" fmla="*/ 585 w 1013"/>
                  <a:gd name="T21" fmla="*/ 132 h 213"/>
                  <a:gd name="T22" fmla="*/ 419 w 1013"/>
                  <a:gd name="T23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13" h="213">
                    <a:moveTo>
                      <a:pt x="419" y="213"/>
                    </a:moveTo>
                    <a:lnTo>
                      <a:pt x="419" y="210"/>
                    </a:lnTo>
                    <a:lnTo>
                      <a:pt x="0" y="7"/>
                    </a:lnTo>
                    <a:lnTo>
                      <a:pt x="3" y="0"/>
                    </a:lnTo>
                    <a:lnTo>
                      <a:pt x="419" y="203"/>
                    </a:lnTo>
                    <a:lnTo>
                      <a:pt x="585" y="123"/>
                    </a:lnTo>
                    <a:lnTo>
                      <a:pt x="741" y="201"/>
                    </a:lnTo>
                    <a:lnTo>
                      <a:pt x="1008" y="75"/>
                    </a:lnTo>
                    <a:lnTo>
                      <a:pt x="1013" y="82"/>
                    </a:lnTo>
                    <a:lnTo>
                      <a:pt x="741" y="208"/>
                    </a:lnTo>
                    <a:lnTo>
                      <a:pt x="585" y="132"/>
                    </a:lnTo>
                    <a:lnTo>
                      <a:pt x="419" y="213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5" name="Rectangle 29"/>
              <p:cNvSpPr>
                <a:spLocks noChangeArrowheads="1"/>
              </p:cNvSpPr>
              <p:nvPr/>
            </p:nvSpPr>
            <p:spPr bwMode="gray">
              <a:xfrm>
                <a:off x="1081456" y="2520170"/>
                <a:ext cx="5375" cy="530534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6" name="Rectangle 30"/>
              <p:cNvSpPr>
                <a:spLocks noChangeArrowheads="1"/>
              </p:cNvSpPr>
              <p:nvPr/>
            </p:nvSpPr>
            <p:spPr bwMode="gray">
              <a:xfrm>
                <a:off x="1206604" y="2458748"/>
                <a:ext cx="5375" cy="532070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7" name="Rectangle 31"/>
              <p:cNvSpPr>
                <a:spLocks noChangeArrowheads="1"/>
              </p:cNvSpPr>
              <p:nvPr/>
            </p:nvSpPr>
            <p:spPr bwMode="gray">
              <a:xfrm>
                <a:off x="1326377" y="2516332"/>
                <a:ext cx="5375" cy="528999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8" name="Freeform 32"/>
              <p:cNvSpPr>
                <a:spLocks noEditPoints="1"/>
              </p:cNvSpPr>
              <p:nvPr/>
            </p:nvSpPr>
            <p:spPr bwMode="gray">
              <a:xfrm>
                <a:off x="788933" y="2405772"/>
                <a:ext cx="263348" cy="214210"/>
              </a:xfrm>
              <a:custGeom>
                <a:avLst/>
                <a:gdLst>
                  <a:gd name="T0" fmla="*/ 343 w 343"/>
                  <a:gd name="T1" fmla="*/ 279 h 279"/>
                  <a:gd name="T2" fmla="*/ 0 w 343"/>
                  <a:gd name="T3" fmla="*/ 111 h 279"/>
                  <a:gd name="T4" fmla="*/ 0 w 343"/>
                  <a:gd name="T5" fmla="*/ 0 h 279"/>
                  <a:gd name="T6" fmla="*/ 343 w 343"/>
                  <a:gd name="T7" fmla="*/ 163 h 279"/>
                  <a:gd name="T8" fmla="*/ 343 w 343"/>
                  <a:gd name="T9" fmla="*/ 279 h 279"/>
                  <a:gd name="T10" fmla="*/ 7 w 343"/>
                  <a:gd name="T11" fmla="*/ 107 h 279"/>
                  <a:gd name="T12" fmla="*/ 336 w 343"/>
                  <a:gd name="T13" fmla="*/ 270 h 279"/>
                  <a:gd name="T14" fmla="*/ 336 w 343"/>
                  <a:gd name="T15" fmla="*/ 168 h 279"/>
                  <a:gd name="T16" fmla="*/ 7 w 343"/>
                  <a:gd name="T17" fmla="*/ 7 h 279"/>
                  <a:gd name="T18" fmla="*/ 7 w 343"/>
                  <a:gd name="T19" fmla="*/ 107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3" h="279">
                    <a:moveTo>
                      <a:pt x="343" y="279"/>
                    </a:moveTo>
                    <a:lnTo>
                      <a:pt x="0" y="111"/>
                    </a:lnTo>
                    <a:lnTo>
                      <a:pt x="0" y="0"/>
                    </a:lnTo>
                    <a:lnTo>
                      <a:pt x="343" y="163"/>
                    </a:lnTo>
                    <a:lnTo>
                      <a:pt x="343" y="279"/>
                    </a:lnTo>
                    <a:close/>
                    <a:moveTo>
                      <a:pt x="7" y="107"/>
                    </a:moveTo>
                    <a:lnTo>
                      <a:pt x="336" y="270"/>
                    </a:lnTo>
                    <a:lnTo>
                      <a:pt x="336" y="168"/>
                    </a:lnTo>
                    <a:lnTo>
                      <a:pt x="7" y="7"/>
                    </a:lnTo>
                    <a:lnTo>
                      <a:pt x="7" y="107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9" name="Rectangle 33"/>
              <p:cNvSpPr>
                <a:spLocks noChangeArrowheads="1"/>
              </p:cNvSpPr>
              <p:nvPr/>
            </p:nvSpPr>
            <p:spPr bwMode="gray">
              <a:xfrm>
                <a:off x="848819" y="2438786"/>
                <a:ext cx="3839" cy="79849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0" name="Rectangle 34"/>
              <p:cNvSpPr>
                <a:spLocks noChangeArrowheads="1"/>
              </p:cNvSpPr>
              <p:nvPr/>
            </p:nvSpPr>
            <p:spPr bwMode="gray">
              <a:xfrm>
                <a:off x="914080" y="2469497"/>
                <a:ext cx="3839" cy="81384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1" name="Rectangle 35"/>
              <p:cNvSpPr>
                <a:spLocks noChangeArrowheads="1"/>
              </p:cNvSpPr>
              <p:nvPr/>
            </p:nvSpPr>
            <p:spPr bwMode="gray">
              <a:xfrm>
                <a:off x="981645" y="2502512"/>
                <a:ext cx="5375" cy="82920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2" name="Freeform 36"/>
              <p:cNvSpPr>
                <a:spLocks noEditPoints="1"/>
              </p:cNvSpPr>
              <p:nvPr/>
            </p:nvSpPr>
            <p:spPr bwMode="gray">
              <a:xfrm>
                <a:off x="1347875" y="2451070"/>
                <a:ext cx="174286" cy="171215"/>
              </a:xfrm>
              <a:custGeom>
                <a:avLst/>
                <a:gdLst>
                  <a:gd name="T0" fmla="*/ 0 w 227"/>
                  <a:gd name="T1" fmla="*/ 223 h 223"/>
                  <a:gd name="T2" fmla="*/ 0 w 227"/>
                  <a:gd name="T3" fmla="*/ 109 h 223"/>
                  <a:gd name="T4" fmla="*/ 3 w 227"/>
                  <a:gd name="T5" fmla="*/ 107 h 223"/>
                  <a:gd name="T6" fmla="*/ 227 w 227"/>
                  <a:gd name="T7" fmla="*/ 0 h 223"/>
                  <a:gd name="T8" fmla="*/ 227 w 227"/>
                  <a:gd name="T9" fmla="*/ 112 h 223"/>
                  <a:gd name="T10" fmla="*/ 227 w 227"/>
                  <a:gd name="T11" fmla="*/ 112 h 223"/>
                  <a:gd name="T12" fmla="*/ 0 w 227"/>
                  <a:gd name="T13" fmla="*/ 223 h 223"/>
                  <a:gd name="T14" fmla="*/ 7 w 227"/>
                  <a:gd name="T15" fmla="*/ 112 h 223"/>
                  <a:gd name="T16" fmla="*/ 7 w 227"/>
                  <a:gd name="T17" fmla="*/ 213 h 223"/>
                  <a:gd name="T18" fmla="*/ 223 w 227"/>
                  <a:gd name="T19" fmla="*/ 107 h 223"/>
                  <a:gd name="T20" fmla="*/ 223 w 227"/>
                  <a:gd name="T21" fmla="*/ 10 h 223"/>
                  <a:gd name="T22" fmla="*/ 7 w 227"/>
                  <a:gd name="T23" fmla="*/ 112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7" h="223">
                    <a:moveTo>
                      <a:pt x="0" y="223"/>
                    </a:moveTo>
                    <a:lnTo>
                      <a:pt x="0" y="109"/>
                    </a:lnTo>
                    <a:lnTo>
                      <a:pt x="3" y="107"/>
                    </a:lnTo>
                    <a:lnTo>
                      <a:pt x="227" y="0"/>
                    </a:lnTo>
                    <a:lnTo>
                      <a:pt x="227" y="112"/>
                    </a:lnTo>
                    <a:lnTo>
                      <a:pt x="227" y="112"/>
                    </a:lnTo>
                    <a:lnTo>
                      <a:pt x="0" y="223"/>
                    </a:lnTo>
                    <a:close/>
                    <a:moveTo>
                      <a:pt x="7" y="112"/>
                    </a:moveTo>
                    <a:lnTo>
                      <a:pt x="7" y="213"/>
                    </a:lnTo>
                    <a:lnTo>
                      <a:pt x="223" y="107"/>
                    </a:lnTo>
                    <a:lnTo>
                      <a:pt x="223" y="10"/>
                    </a:lnTo>
                    <a:lnTo>
                      <a:pt x="7" y="112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3" name="Rectangle 37"/>
              <p:cNvSpPr>
                <a:spLocks noChangeArrowheads="1"/>
              </p:cNvSpPr>
              <p:nvPr/>
            </p:nvSpPr>
            <p:spPr bwMode="gray">
              <a:xfrm>
                <a:off x="1464577" y="2478710"/>
                <a:ext cx="5375" cy="83688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4" name="Rectangle 38"/>
              <p:cNvSpPr>
                <a:spLocks noChangeArrowheads="1"/>
              </p:cNvSpPr>
              <p:nvPr/>
            </p:nvSpPr>
            <p:spPr bwMode="gray">
              <a:xfrm>
                <a:off x="1406226" y="2509422"/>
                <a:ext cx="3839" cy="82152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5" name="Freeform 39"/>
              <p:cNvSpPr>
                <a:spLocks noEditPoints="1"/>
              </p:cNvSpPr>
              <p:nvPr/>
            </p:nvSpPr>
            <p:spPr bwMode="gray">
              <a:xfrm>
                <a:off x="1122916" y="2502512"/>
                <a:ext cx="47602" cy="95972"/>
              </a:xfrm>
              <a:custGeom>
                <a:avLst/>
                <a:gdLst>
                  <a:gd name="T0" fmla="*/ 0 w 62"/>
                  <a:gd name="T1" fmla="*/ 125 h 125"/>
                  <a:gd name="T2" fmla="*/ 0 w 62"/>
                  <a:gd name="T3" fmla="*/ 33 h 125"/>
                  <a:gd name="T4" fmla="*/ 62 w 62"/>
                  <a:gd name="T5" fmla="*/ 0 h 125"/>
                  <a:gd name="T6" fmla="*/ 62 w 62"/>
                  <a:gd name="T7" fmla="*/ 94 h 125"/>
                  <a:gd name="T8" fmla="*/ 0 w 62"/>
                  <a:gd name="T9" fmla="*/ 125 h 125"/>
                  <a:gd name="T10" fmla="*/ 5 w 62"/>
                  <a:gd name="T11" fmla="*/ 35 h 125"/>
                  <a:gd name="T12" fmla="*/ 5 w 62"/>
                  <a:gd name="T13" fmla="*/ 118 h 125"/>
                  <a:gd name="T14" fmla="*/ 54 w 62"/>
                  <a:gd name="T15" fmla="*/ 89 h 125"/>
                  <a:gd name="T16" fmla="*/ 54 w 62"/>
                  <a:gd name="T17" fmla="*/ 9 h 125"/>
                  <a:gd name="T18" fmla="*/ 5 w 62"/>
                  <a:gd name="T19" fmla="*/ 3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125">
                    <a:moveTo>
                      <a:pt x="0" y="125"/>
                    </a:moveTo>
                    <a:lnTo>
                      <a:pt x="0" y="33"/>
                    </a:lnTo>
                    <a:lnTo>
                      <a:pt x="62" y="0"/>
                    </a:lnTo>
                    <a:lnTo>
                      <a:pt x="62" y="94"/>
                    </a:lnTo>
                    <a:lnTo>
                      <a:pt x="0" y="125"/>
                    </a:lnTo>
                    <a:close/>
                    <a:moveTo>
                      <a:pt x="5" y="35"/>
                    </a:moveTo>
                    <a:lnTo>
                      <a:pt x="5" y="118"/>
                    </a:lnTo>
                    <a:lnTo>
                      <a:pt x="54" y="89"/>
                    </a:lnTo>
                    <a:lnTo>
                      <a:pt x="54" y="9"/>
                    </a:lnTo>
                    <a:lnTo>
                      <a:pt x="5" y="35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6" name="Freeform 40"/>
              <p:cNvSpPr>
                <a:spLocks noEditPoints="1"/>
              </p:cNvSpPr>
              <p:nvPr/>
            </p:nvSpPr>
            <p:spPr bwMode="gray">
              <a:xfrm>
                <a:off x="1244993" y="2502512"/>
                <a:ext cx="46835" cy="95972"/>
              </a:xfrm>
              <a:custGeom>
                <a:avLst/>
                <a:gdLst>
                  <a:gd name="T0" fmla="*/ 61 w 61"/>
                  <a:gd name="T1" fmla="*/ 125 h 125"/>
                  <a:gd name="T2" fmla="*/ 0 w 61"/>
                  <a:gd name="T3" fmla="*/ 94 h 125"/>
                  <a:gd name="T4" fmla="*/ 0 w 61"/>
                  <a:gd name="T5" fmla="*/ 0 h 125"/>
                  <a:gd name="T6" fmla="*/ 61 w 61"/>
                  <a:gd name="T7" fmla="*/ 33 h 125"/>
                  <a:gd name="T8" fmla="*/ 61 w 61"/>
                  <a:gd name="T9" fmla="*/ 125 h 125"/>
                  <a:gd name="T10" fmla="*/ 7 w 61"/>
                  <a:gd name="T11" fmla="*/ 89 h 125"/>
                  <a:gd name="T12" fmla="*/ 56 w 61"/>
                  <a:gd name="T13" fmla="*/ 118 h 125"/>
                  <a:gd name="T14" fmla="*/ 56 w 61"/>
                  <a:gd name="T15" fmla="*/ 35 h 125"/>
                  <a:gd name="T16" fmla="*/ 7 w 61"/>
                  <a:gd name="T17" fmla="*/ 9 h 125"/>
                  <a:gd name="T18" fmla="*/ 7 w 61"/>
                  <a:gd name="T19" fmla="*/ 8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5">
                    <a:moveTo>
                      <a:pt x="61" y="125"/>
                    </a:moveTo>
                    <a:lnTo>
                      <a:pt x="0" y="94"/>
                    </a:lnTo>
                    <a:lnTo>
                      <a:pt x="0" y="0"/>
                    </a:lnTo>
                    <a:lnTo>
                      <a:pt x="61" y="33"/>
                    </a:lnTo>
                    <a:lnTo>
                      <a:pt x="61" y="125"/>
                    </a:lnTo>
                    <a:close/>
                    <a:moveTo>
                      <a:pt x="7" y="89"/>
                    </a:moveTo>
                    <a:lnTo>
                      <a:pt x="56" y="118"/>
                    </a:lnTo>
                    <a:lnTo>
                      <a:pt x="56" y="35"/>
                    </a:lnTo>
                    <a:lnTo>
                      <a:pt x="7" y="9"/>
                    </a:lnTo>
                    <a:lnTo>
                      <a:pt x="7" y="89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7" name="Freeform 41"/>
              <p:cNvSpPr>
                <a:spLocks noEditPoints="1"/>
              </p:cNvSpPr>
              <p:nvPr/>
            </p:nvSpPr>
            <p:spPr bwMode="gray">
              <a:xfrm>
                <a:off x="1122916" y="2649157"/>
                <a:ext cx="47602" cy="96740"/>
              </a:xfrm>
              <a:custGeom>
                <a:avLst/>
                <a:gdLst>
                  <a:gd name="T0" fmla="*/ 0 w 62"/>
                  <a:gd name="T1" fmla="*/ 126 h 126"/>
                  <a:gd name="T2" fmla="*/ 0 w 62"/>
                  <a:gd name="T3" fmla="*/ 33 h 126"/>
                  <a:gd name="T4" fmla="*/ 62 w 62"/>
                  <a:gd name="T5" fmla="*/ 0 h 126"/>
                  <a:gd name="T6" fmla="*/ 62 w 62"/>
                  <a:gd name="T7" fmla="*/ 93 h 126"/>
                  <a:gd name="T8" fmla="*/ 0 w 62"/>
                  <a:gd name="T9" fmla="*/ 126 h 126"/>
                  <a:gd name="T10" fmla="*/ 5 w 62"/>
                  <a:gd name="T11" fmla="*/ 36 h 126"/>
                  <a:gd name="T12" fmla="*/ 5 w 62"/>
                  <a:gd name="T13" fmla="*/ 116 h 126"/>
                  <a:gd name="T14" fmla="*/ 54 w 62"/>
                  <a:gd name="T15" fmla="*/ 90 h 126"/>
                  <a:gd name="T16" fmla="*/ 54 w 62"/>
                  <a:gd name="T17" fmla="*/ 10 h 126"/>
                  <a:gd name="T18" fmla="*/ 5 w 62"/>
                  <a:gd name="T19" fmla="*/ 3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126">
                    <a:moveTo>
                      <a:pt x="0" y="126"/>
                    </a:moveTo>
                    <a:lnTo>
                      <a:pt x="0" y="33"/>
                    </a:lnTo>
                    <a:lnTo>
                      <a:pt x="62" y="0"/>
                    </a:lnTo>
                    <a:lnTo>
                      <a:pt x="62" y="93"/>
                    </a:lnTo>
                    <a:lnTo>
                      <a:pt x="0" y="126"/>
                    </a:lnTo>
                    <a:close/>
                    <a:moveTo>
                      <a:pt x="5" y="36"/>
                    </a:moveTo>
                    <a:lnTo>
                      <a:pt x="5" y="116"/>
                    </a:lnTo>
                    <a:lnTo>
                      <a:pt x="54" y="90"/>
                    </a:lnTo>
                    <a:lnTo>
                      <a:pt x="54" y="10"/>
                    </a:lnTo>
                    <a:lnTo>
                      <a:pt x="5" y="36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8" name="Freeform 42"/>
              <p:cNvSpPr>
                <a:spLocks noEditPoints="1"/>
              </p:cNvSpPr>
              <p:nvPr/>
            </p:nvSpPr>
            <p:spPr bwMode="gray">
              <a:xfrm>
                <a:off x="1244993" y="2649157"/>
                <a:ext cx="46835" cy="96740"/>
              </a:xfrm>
              <a:custGeom>
                <a:avLst/>
                <a:gdLst>
                  <a:gd name="T0" fmla="*/ 61 w 61"/>
                  <a:gd name="T1" fmla="*/ 126 h 126"/>
                  <a:gd name="T2" fmla="*/ 0 w 61"/>
                  <a:gd name="T3" fmla="*/ 93 h 126"/>
                  <a:gd name="T4" fmla="*/ 0 w 61"/>
                  <a:gd name="T5" fmla="*/ 0 h 126"/>
                  <a:gd name="T6" fmla="*/ 61 w 61"/>
                  <a:gd name="T7" fmla="*/ 33 h 126"/>
                  <a:gd name="T8" fmla="*/ 61 w 61"/>
                  <a:gd name="T9" fmla="*/ 126 h 126"/>
                  <a:gd name="T10" fmla="*/ 7 w 61"/>
                  <a:gd name="T11" fmla="*/ 90 h 126"/>
                  <a:gd name="T12" fmla="*/ 56 w 61"/>
                  <a:gd name="T13" fmla="*/ 116 h 126"/>
                  <a:gd name="T14" fmla="*/ 56 w 61"/>
                  <a:gd name="T15" fmla="*/ 36 h 126"/>
                  <a:gd name="T16" fmla="*/ 7 w 61"/>
                  <a:gd name="T17" fmla="*/ 10 h 126"/>
                  <a:gd name="T18" fmla="*/ 7 w 61"/>
                  <a:gd name="T19" fmla="*/ 9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6">
                    <a:moveTo>
                      <a:pt x="61" y="126"/>
                    </a:moveTo>
                    <a:lnTo>
                      <a:pt x="0" y="93"/>
                    </a:lnTo>
                    <a:lnTo>
                      <a:pt x="0" y="0"/>
                    </a:lnTo>
                    <a:lnTo>
                      <a:pt x="61" y="33"/>
                    </a:lnTo>
                    <a:lnTo>
                      <a:pt x="61" y="126"/>
                    </a:lnTo>
                    <a:close/>
                    <a:moveTo>
                      <a:pt x="7" y="90"/>
                    </a:moveTo>
                    <a:lnTo>
                      <a:pt x="56" y="116"/>
                    </a:lnTo>
                    <a:lnTo>
                      <a:pt x="56" y="36"/>
                    </a:lnTo>
                    <a:lnTo>
                      <a:pt x="7" y="10"/>
                    </a:lnTo>
                    <a:lnTo>
                      <a:pt x="7" y="90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9" name="Freeform 43"/>
              <p:cNvSpPr>
                <a:spLocks noEditPoints="1"/>
              </p:cNvSpPr>
              <p:nvPr/>
            </p:nvSpPr>
            <p:spPr bwMode="gray">
              <a:xfrm>
                <a:off x="1122916" y="2800409"/>
                <a:ext cx="47602" cy="95972"/>
              </a:xfrm>
              <a:custGeom>
                <a:avLst/>
                <a:gdLst>
                  <a:gd name="T0" fmla="*/ 0 w 62"/>
                  <a:gd name="T1" fmla="*/ 125 h 125"/>
                  <a:gd name="T2" fmla="*/ 0 w 62"/>
                  <a:gd name="T3" fmla="*/ 33 h 125"/>
                  <a:gd name="T4" fmla="*/ 62 w 62"/>
                  <a:gd name="T5" fmla="*/ 0 h 125"/>
                  <a:gd name="T6" fmla="*/ 62 w 62"/>
                  <a:gd name="T7" fmla="*/ 94 h 125"/>
                  <a:gd name="T8" fmla="*/ 0 w 62"/>
                  <a:gd name="T9" fmla="*/ 125 h 125"/>
                  <a:gd name="T10" fmla="*/ 5 w 62"/>
                  <a:gd name="T11" fmla="*/ 35 h 125"/>
                  <a:gd name="T12" fmla="*/ 5 w 62"/>
                  <a:gd name="T13" fmla="*/ 116 h 125"/>
                  <a:gd name="T14" fmla="*/ 54 w 62"/>
                  <a:gd name="T15" fmla="*/ 90 h 125"/>
                  <a:gd name="T16" fmla="*/ 54 w 62"/>
                  <a:gd name="T17" fmla="*/ 9 h 125"/>
                  <a:gd name="T18" fmla="*/ 5 w 62"/>
                  <a:gd name="T19" fmla="*/ 3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2" h="125">
                    <a:moveTo>
                      <a:pt x="0" y="125"/>
                    </a:moveTo>
                    <a:lnTo>
                      <a:pt x="0" y="33"/>
                    </a:lnTo>
                    <a:lnTo>
                      <a:pt x="62" y="0"/>
                    </a:lnTo>
                    <a:lnTo>
                      <a:pt x="62" y="94"/>
                    </a:lnTo>
                    <a:lnTo>
                      <a:pt x="0" y="125"/>
                    </a:lnTo>
                    <a:close/>
                    <a:moveTo>
                      <a:pt x="5" y="35"/>
                    </a:moveTo>
                    <a:lnTo>
                      <a:pt x="5" y="116"/>
                    </a:lnTo>
                    <a:lnTo>
                      <a:pt x="54" y="90"/>
                    </a:lnTo>
                    <a:lnTo>
                      <a:pt x="54" y="9"/>
                    </a:lnTo>
                    <a:lnTo>
                      <a:pt x="5" y="35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0" name="Freeform 44"/>
              <p:cNvSpPr>
                <a:spLocks noEditPoints="1"/>
              </p:cNvSpPr>
              <p:nvPr/>
            </p:nvSpPr>
            <p:spPr bwMode="gray">
              <a:xfrm>
                <a:off x="1244993" y="2800409"/>
                <a:ext cx="46835" cy="95972"/>
              </a:xfrm>
              <a:custGeom>
                <a:avLst/>
                <a:gdLst>
                  <a:gd name="T0" fmla="*/ 61 w 61"/>
                  <a:gd name="T1" fmla="*/ 125 h 125"/>
                  <a:gd name="T2" fmla="*/ 0 w 61"/>
                  <a:gd name="T3" fmla="*/ 94 h 125"/>
                  <a:gd name="T4" fmla="*/ 0 w 61"/>
                  <a:gd name="T5" fmla="*/ 0 h 125"/>
                  <a:gd name="T6" fmla="*/ 61 w 61"/>
                  <a:gd name="T7" fmla="*/ 33 h 125"/>
                  <a:gd name="T8" fmla="*/ 61 w 61"/>
                  <a:gd name="T9" fmla="*/ 125 h 125"/>
                  <a:gd name="T10" fmla="*/ 7 w 61"/>
                  <a:gd name="T11" fmla="*/ 90 h 125"/>
                  <a:gd name="T12" fmla="*/ 56 w 61"/>
                  <a:gd name="T13" fmla="*/ 116 h 125"/>
                  <a:gd name="T14" fmla="*/ 56 w 61"/>
                  <a:gd name="T15" fmla="*/ 35 h 125"/>
                  <a:gd name="T16" fmla="*/ 7 w 61"/>
                  <a:gd name="T17" fmla="*/ 9 h 125"/>
                  <a:gd name="T18" fmla="*/ 7 w 61"/>
                  <a:gd name="T19" fmla="*/ 90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125">
                    <a:moveTo>
                      <a:pt x="61" y="125"/>
                    </a:moveTo>
                    <a:lnTo>
                      <a:pt x="0" y="94"/>
                    </a:lnTo>
                    <a:lnTo>
                      <a:pt x="0" y="0"/>
                    </a:lnTo>
                    <a:lnTo>
                      <a:pt x="61" y="33"/>
                    </a:lnTo>
                    <a:lnTo>
                      <a:pt x="61" y="125"/>
                    </a:lnTo>
                    <a:close/>
                    <a:moveTo>
                      <a:pt x="7" y="90"/>
                    </a:moveTo>
                    <a:lnTo>
                      <a:pt x="56" y="116"/>
                    </a:lnTo>
                    <a:lnTo>
                      <a:pt x="56" y="35"/>
                    </a:lnTo>
                    <a:lnTo>
                      <a:pt x="7" y="9"/>
                    </a:lnTo>
                    <a:lnTo>
                      <a:pt x="7" y="90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1" name="Freeform 45"/>
              <p:cNvSpPr>
                <a:spLocks noEditPoints="1"/>
              </p:cNvSpPr>
              <p:nvPr/>
            </p:nvSpPr>
            <p:spPr bwMode="gray">
              <a:xfrm>
                <a:off x="1347875" y="2600019"/>
                <a:ext cx="174286" cy="171215"/>
              </a:xfrm>
              <a:custGeom>
                <a:avLst/>
                <a:gdLst>
                  <a:gd name="T0" fmla="*/ 0 w 227"/>
                  <a:gd name="T1" fmla="*/ 223 h 223"/>
                  <a:gd name="T2" fmla="*/ 0 w 227"/>
                  <a:gd name="T3" fmla="*/ 109 h 223"/>
                  <a:gd name="T4" fmla="*/ 3 w 227"/>
                  <a:gd name="T5" fmla="*/ 107 h 223"/>
                  <a:gd name="T6" fmla="*/ 227 w 227"/>
                  <a:gd name="T7" fmla="*/ 0 h 223"/>
                  <a:gd name="T8" fmla="*/ 227 w 227"/>
                  <a:gd name="T9" fmla="*/ 112 h 223"/>
                  <a:gd name="T10" fmla="*/ 227 w 227"/>
                  <a:gd name="T11" fmla="*/ 112 h 223"/>
                  <a:gd name="T12" fmla="*/ 0 w 227"/>
                  <a:gd name="T13" fmla="*/ 223 h 223"/>
                  <a:gd name="T14" fmla="*/ 7 w 227"/>
                  <a:gd name="T15" fmla="*/ 112 h 223"/>
                  <a:gd name="T16" fmla="*/ 7 w 227"/>
                  <a:gd name="T17" fmla="*/ 213 h 223"/>
                  <a:gd name="T18" fmla="*/ 223 w 227"/>
                  <a:gd name="T19" fmla="*/ 107 h 223"/>
                  <a:gd name="T20" fmla="*/ 223 w 227"/>
                  <a:gd name="T21" fmla="*/ 10 h 223"/>
                  <a:gd name="T22" fmla="*/ 7 w 227"/>
                  <a:gd name="T23" fmla="*/ 112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7" h="223">
                    <a:moveTo>
                      <a:pt x="0" y="223"/>
                    </a:moveTo>
                    <a:lnTo>
                      <a:pt x="0" y="109"/>
                    </a:lnTo>
                    <a:lnTo>
                      <a:pt x="3" y="107"/>
                    </a:lnTo>
                    <a:lnTo>
                      <a:pt x="227" y="0"/>
                    </a:lnTo>
                    <a:lnTo>
                      <a:pt x="227" y="112"/>
                    </a:lnTo>
                    <a:lnTo>
                      <a:pt x="227" y="112"/>
                    </a:lnTo>
                    <a:lnTo>
                      <a:pt x="0" y="223"/>
                    </a:lnTo>
                    <a:close/>
                    <a:moveTo>
                      <a:pt x="7" y="112"/>
                    </a:moveTo>
                    <a:lnTo>
                      <a:pt x="7" y="213"/>
                    </a:lnTo>
                    <a:lnTo>
                      <a:pt x="223" y="107"/>
                    </a:lnTo>
                    <a:lnTo>
                      <a:pt x="223" y="10"/>
                    </a:lnTo>
                    <a:lnTo>
                      <a:pt x="7" y="112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2" name="Rectangle 46"/>
              <p:cNvSpPr>
                <a:spLocks noChangeArrowheads="1"/>
              </p:cNvSpPr>
              <p:nvPr/>
            </p:nvSpPr>
            <p:spPr bwMode="gray">
              <a:xfrm>
                <a:off x="1464577" y="2629195"/>
                <a:ext cx="5375" cy="82152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3" name="Rectangle 47"/>
              <p:cNvSpPr>
                <a:spLocks noChangeArrowheads="1"/>
              </p:cNvSpPr>
              <p:nvPr/>
            </p:nvSpPr>
            <p:spPr bwMode="gray">
              <a:xfrm>
                <a:off x="1406226" y="2656835"/>
                <a:ext cx="3839" cy="83688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4" name="Freeform 48"/>
              <p:cNvSpPr>
                <a:spLocks noEditPoints="1"/>
              </p:cNvSpPr>
              <p:nvPr/>
            </p:nvSpPr>
            <p:spPr bwMode="gray">
              <a:xfrm>
                <a:off x="1347875" y="2743594"/>
                <a:ext cx="174286" cy="171215"/>
              </a:xfrm>
              <a:custGeom>
                <a:avLst/>
                <a:gdLst>
                  <a:gd name="T0" fmla="*/ 0 w 227"/>
                  <a:gd name="T1" fmla="*/ 223 h 223"/>
                  <a:gd name="T2" fmla="*/ 0 w 227"/>
                  <a:gd name="T3" fmla="*/ 107 h 223"/>
                  <a:gd name="T4" fmla="*/ 3 w 227"/>
                  <a:gd name="T5" fmla="*/ 107 h 223"/>
                  <a:gd name="T6" fmla="*/ 227 w 227"/>
                  <a:gd name="T7" fmla="*/ 0 h 223"/>
                  <a:gd name="T8" fmla="*/ 227 w 227"/>
                  <a:gd name="T9" fmla="*/ 109 h 223"/>
                  <a:gd name="T10" fmla="*/ 227 w 227"/>
                  <a:gd name="T11" fmla="*/ 111 h 223"/>
                  <a:gd name="T12" fmla="*/ 0 w 227"/>
                  <a:gd name="T13" fmla="*/ 223 h 223"/>
                  <a:gd name="T14" fmla="*/ 7 w 227"/>
                  <a:gd name="T15" fmla="*/ 111 h 223"/>
                  <a:gd name="T16" fmla="*/ 7 w 227"/>
                  <a:gd name="T17" fmla="*/ 213 h 223"/>
                  <a:gd name="T18" fmla="*/ 223 w 227"/>
                  <a:gd name="T19" fmla="*/ 107 h 223"/>
                  <a:gd name="T20" fmla="*/ 223 w 227"/>
                  <a:gd name="T21" fmla="*/ 7 h 223"/>
                  <a:gd name="T22" fmla="*/ 7 w 227"/>
                  <a:gd name="T23" fmla="*/ 111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7" h="223">
                    <a:moveTo>
                      <a:pt x="0" y="223"/>
                    </a:moveTo>
                    <a:lnTo>
                      <a:pt x="0" y="107"/>
                    </a:lnTo>
                    <a:lnTo>
                      <a:pt x="3" y="107"/>
                    </a:lnTo>
                    <a:lnTo>
                      <a:pt x="227" y="0"/>
                    </a:lnTo>
                    <a:lnTo>
                      <a:pt x="227" y="109"/>
                    </a:lnTo>
                    <a:lnTo>
                      <a:pt x="227" y="111"/>
                    </a:lnTo>
                    <a:lnTo>
                      <a:pt x="0" y="223"/>
                    </a:lnTo>
                    <a:close/>
                    <a:moveTo>
                      <a:pt x="7" y="111"/>
                    </a:moveTo>
                    <a:lnTo>
                      <a:pt x="7" y="213"/>
                    </a:lnTo>
                    <a:lnTo>
                      <a:pt x="223" y="107"/>
                    </a:lnTo>
                    <a:lnTo>
                      <a:pt x="223" y="7"/>
                    </a:lnTo>
                    <a:lnTo>
                      <a:pt x="7" y="111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5" name="Rectangle 49"/>
              <p:cNvSpPr>
                <a:spLocks noChangeArrowheads="1"/>
              </p:cNvSpPr>
              <p:nvPr/>
            </p:nvSpPr>
            <p:spPr bwMode="gray">
              <a:xfrm>
                <a:off x="1464577" y="2771234"/>
                <a:ext cx="5375" cy="81384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6" name="Rectangle 50"/>
              <p:cNvSpPr>
                <a:spLocks noChangeArrowheads="1"/>
              </p:cNvSpPr>
              <p:nvPr/>
            </p:nvSpPr>
            <p:spPr bwMode="gray">
              <a:xfrm>
                <a:off x="1406226" y="2800409"/>
                <a:ext cx="3839" cy="81384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7" name="Freeform 51"/>
              <p:cNvSpPr>
                <a:spLocks noEditPoints="1"/>
              </p:cNvSpPr>
              <p:nvPr/>
            </p:nvSpPr>
            <p:spPr bwMode="gray">
              <a:xfrm>
                <a:off x="788933" y="2554721"/>
                <a:ext cx="263348" cy="214210"/>
              </a:xfrm>
              <a:custGeom>
                <a:avLst/>
                <a:gdLst>
                  <a:gd name="T0" fmla="*/ 343 w 343"/>
                  <a:gd name="T1" fmla="*/ 279 h 279"/>
                  <a:gd name="T2" fmla="*/ 0 w 343"/>
                  <a:gd name="T3" fmla="*/ 111 h 279"/>
                  <a:gd name="T4" fmla="*/ 0 w 343"/>
                  <a:gd name="T5" fmla="*/ 0 h 279"/>
                  <a:gd name="T6" fmla="*/ 343 w 343"/>
                  <a:gd name="T7" fmla="*/ 166 h 279"/>
                  <a:gd name="T8" fmla="*/ 343 w 343"/>
                  <a:gd name="T9" fmla="*/ 279 h 279"/>
                  <a:gd name="T10" fmla="*/ 7 w 343"/>
                  <a:gd name="T11" fmla="*/ 109 h 279"/>
                  <a:gd name="T12" fmla="*/ 336 w 343"/>
                  <a:gd name="T13" fmla="*/ 272 h 279"/>
                  <a:gd name="T14" fmla="*/ 336 w 343"/>
                  <a:gd name="T15" fmla="*/ 168 h 279"/>
                  <a:gd name="T16" fmla="*/ 7 w 343"/>
                  <a:gd name="T17" fmla="*/ 10 h 279"/>
                  <a:gd name="T18" fmla="*/ 7 w 343"/>
                  <a:gd name="T19" fmla="*/ 10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3" h="279">
                    <a:moveTo>
                      <a:pt x="343" y="279"/>
                    </a:moveTo>
                    <a:lnTo>
                      <a:pt x="0" y="111"/>
                    </a:lnTo>
                    <a:lnTo>
                      <a:pt x="0" y="0"/>
                    </a:lnTo>
                    <a:lnTo>
                      <a:pt x="343" y="166"/>
                    </a:lnTo>
                    <a:lnTo>
                      <a:pt x="343" y="279"/>
                    </a:lnTo>
                    <a:close/>
                    <a:moveTo>
                      <a:pt x="7" y="109"/>
                    </a:moveTo>
                    <a:lnTo>
                      <a:pt x="336" y="272"/>
                    </a:lnTo>
                    <a:lnTo>
                      <a:pt x="336" y="168"/>
                    </a:lnTo>
                    <a:lnTo>
                      <a:pt x="7" y="10"/>
                    </a:lnTo>
                    <a:lnTo>
                      <a:pt x="7" y="109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8" name="Rectangle 52"/>
              <p:cNvSpPr>
                <a:spLocks noChangeArrowheads="1"/>
              </p:cNvSpPr>
              <p:nvPr/>
            </p:nvSpPr>
            <p:spPr bwMode="gray">
              <a:xfrm>
                <a:off x="848819" y="2589270"/>
                <a:ext cx="3839" cy="79849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9" name="Rectangle 53"/>
              <p:cNvSpPr>
                <a:spLocks noChangeArrowheads="1"/>
              </p:cNvSpPr>
              <p:nvPr/>
            </p:nvSpPr>
            <p:spPr bwMode="gray">
              <a:xfrm>
                <a:off x="914080" y="2618446"/>
                <a:ext cx="3839" cy="81384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0" name="Rectangle 54"/>
              <p:cNvSpPr>
                <a:spLocks noChangeArrowheads="1"/>
              </p:cNvSpPr>
              <p:nvPr/>
            </p:nvSpPr>
            <p:spPr bwMode="gray">
              <a:xfrm>
                <a:off x="981645" y="2651461"/>
                <a:ext cx="5375" cy="82920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1" name="Freeform 55"/>
              <p:cNvSpPr>
                <a:spLocks noEditPoints="1"/>
              </p:cNvSpPr>
              <p:nvPr/>
            </p:nvSpPr>
            <p:spPr bwMode="gray">
              <a:xfrm>
                <a:off x="788933" y="2703669"/>
                <a:ext cx="263348" cy="214210"/>
              </a:xfrm>
              <a:custGeom>
                <a:avLst/>
                <a:gdLst>
                  <a:gd name="T0" fmla="*/ 343 w 343"/>
                  <a:gd name="T1" fmla="*/ 279 h 279"/>
                  <a:gd name="T2" fmla="*/ 0 w 343"/>
                  <a:gd name="T3" fmla="*/ 111 h 279"/>
                  <a:gd name="T4" fmla="*/ 0 w 343"/>
                  <a:gd name="T5" fmla="*/ 0 h 279"/>
                  <a:gd name="T6" fmla="*/ 343 w 343"/>
                  <a:gd name="T7" fmla="*/ 166 h 279"/>
                  <a:gd name="T8" fmla="*/ 343 w 343"/>
                  <a:gd name="T9" fmla="*/ 279 h 279"/>
                  <a:gd name="T10" fmla="*/ 7 w 343"/>
                  <a:gd name="T11" fmla="*/ 107 h 279"/>
                  <a:gd name="T12" fmla="*/ 336 w 343"/>
                  <a:gd name="T13" fmla="*/ 270 h 279"/>
                  <a:gd name="T14" fmla="*/ 336 w 343"/>
                  <a:gd name="T15" fmla="*/ 168 h 279"/>
                  <a:gd name="T16" fmla="*/ 7 w 343"/>
                  <a:gd name="T17" fmla="*/ 10 h 279"/>
                  <a:gd name="T18" fmla="*/ 7 w 343"/>
                  <a:gd name="T19" fmla="*/ 107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3" h="279">
                    <a:moveTo>
                      <a:pt x="343" y="279"/>
                    </a:moveTo>
                    <a:lnTo>
                      <a:pt x="0" y="111"/>
                    </a:lnTo>
                    <a:lnTo>
                      <a:pt x="0" y="0"/>
                    </a:lnTo>
                    <a:lnTo>
                      <a:pt x="343" y="166"/>
                    </a:lnTo>
                    <a:lnTo>
                      <a:pt x="343" y="279"/>
                    </a:lnTo>
                    <a:close/>
                    <a:moveTo>
                      <a:pt x="7" y="107"/>
                    </a:moveTo>
                    <a:lnTo>
                      <a:pt x="336" y="270"/>
                    </a:lnTo>
                    <a:lnTo>
                      <a:pt x="336" y="168"/>
                    </a:lnTo>
                    <a:lnTo>
                      <a:pt x="7" y="10"/>
                    </a:lnTo>
                    <a:lnTo>
                      <a:pt x="7" y="107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2" name="Rectangle 56"/>
              <p:cNvSpPr>
                <a:spLocks noChangeArrowheads="1"/>
              </p:cNvSpPr>
              <p:nvPr/>
            </p:nvSpPr>
            <p:spPr bwMode="gray">
              <a:xfrm>
                <a:off x="848819" y="2736684"/>
                <a:ext cx="3839" cy="79849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3" name="Rectangle 57"/>
              <p:cNvSpPr>
                <a:spLocks noChangeArrowheads="1"/>
              </p:cNvSpPr>
              <p:nvPr/>
            </p:nvSpPr>
            <p:spPr bwMode="gray">
              <a:xfrm>
                <a:off x="914080" y="2767395"/>
                <a:ext cx="3839" cy="82152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4" name="Rectangle 58"/>
              <p:cNvSpPr>
                <a:spLocks noChangeArrowheads="1"/>
              </p:cNvSpPr>
              <p:nvPr/>
            </p:nvSpPr>
            <p:spPr bwMode="gray">
              <a:xfrm>
                <a:off x="981645" y="2800409"/>
                <a:ext cx="5375" cy="82920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5" name="Freeform 59"/>
              <p:cNvSpPr>
                <a:spLocks noEditPoints="1"/>
              </p:cNvSpPr>
              <p:nvPr/>
            </p:nvSpPr>
            <p:spPr bwMode="gray">
              <a:xfrm>
                <a:off x="990090" y="2275250"/>
                <a:ext cx="220352" cy="158162"/>
              </a:xfrm>
              <a:custGeom>
                <a:avLst/>
                <a:gdLst>
                  <a:gd name="T0" fmla="*/ 166 w 287"/>
                  <a:gd name="T1" fmla="*/ 206 h 206"/>
                  <a:gd name="T2" fmla="*/ 164 w 287"/>
                  <a:gd name="T3" fmla="*/ 206 h 206"/>
                  <a:gd name="T4" fmla="*/ 0 w 287"/>
                  <a:gd name="T5" fmla="*/ 125 h 206"/>
                  <a:gd name="T6" fmla="*/ 0 w 287"/>
                  <a:gd name="T7" fmla="*/ 66 h 206"/>
                  <a:gd name="T8" fmla="*/ 126 w 287"/>
                  <a:gd name="T9" fmla="*/ 0 h 206"/>
                  <a:gd name="T10" fmla="*/ 128 w 287"/>
                  <a:gd name="T11" fmla="*/ 0 h 206"/>
                  <a:gd name="T12" fmla="*/ 287 w 287"/>
                  <a:gd name="T13" fmla="*/ 78 h 206"/>
                  <a:gd name="T14" fmla="*/ 287 w 287"/>
                  <a:gd name="T15" fmla="*/ 144 h 206"/>
                  <a:gd name="T16" fmla="*/ 166 w 287"/>
                  <a:gd name="T17" fmla="*/ 206 h 206"/>
                  <a:gd name="T18" fmla="*/ 7 w 287"/>
                  <a:gd name="T19" fmla="*/ 120 h 206"/>
                  <a:gd name="T20" fmla="*/ 166 w 287"/>
                  <a:gd name="T21" fmla="*/ 196 h 206"/>
                  <a:gd name="T22" fmla="*/ 280 w 287"/>
                  <a:gd name="T23" fmla="*/ 139 h 206"/>
                  <a:gd name="T24" fmla="*/ 280 w 287"/>
                  <a:gd name="T25" fmla="*/ 83 h 206"/>
                  <a:gd name="T26" fmla="*/ 126 w 287"/>
                  <a:gd name="T27" fmla="*/ 9 h 206"/>
                  <a:gd name="T28" fmla="*/ 7 w 287"/>
                  <a:gd name="T29" fmla="*/ 71 h 206"/>
                  <a:gd name="T30" fmla="*/ 7 w 287"/>
                  <a:gd name="T31" fmla="*/ 12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7" h="206">
                    <a:moveTo>
                      <a:pt x="166" y="206"/>
                    </a:moveTo>
                    <a:lnTo>
                      <a:pt x="164" y="206"/>
                    </a:lnTo>
                    <a:lnTo>
                      <a:pt x="0" y="125"/>
                    </a:lnTo>
                    <a:lnTo>
                      <a:pt x="0" y="66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287" y="78"/>
                    </a:lnTo>
                    <a:lnTo>
                      <a:pt x="287" y="144"/>
                    </a:lnTo>
                    <a:lnTo>
                      <a:pt x="166" y="206"/>
                    </a:lnTo>
                    <a:close/>
                    <a:moveTo>
                      <a:pt x="7" y="120"/>
                    </a:moveTo>
                    <a:lnTo>
                      <a:pt x="166" y="196"/>
                    </a:lnTo>
                    <a:lnTo>
                      <a:pt x="280" y="139"/>
                    </a:lnTo>
                    <a:lnTo>
                      <a:pt x="280" y="83"/>
                    </a:lnTo>
                    <a:lnTo>
                      <a:pt x="126" y="9"/>
                    </a:lnTo>
                    <a:lnTo>
                      <a:pt x="7" y="71"/>
                    </a:lnTo>
                    <a:lnTo>
                      <a:pt x="7" y="120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6" name="Freeform 60"/>
              <p:cNvSpPr>
                <a:spLocks/>
              </p:cNvSpPr>
              <p:nvPr/>
            </p:nvSpPr>
            <p:spPr bwMode="gray">
              <a:xfrm>
                <a:off x="992393" y="2324387"/>
                <a:ext cx="218049" cy="62958"/>
              </a:xfrm>
              <a:custGeom>
                <a:avLst/>
                <a:gdLst>
                  <a:gd name="T0" fmla="*/ 68 w 120"/>
                  <a:gd name="T1" fmla="*/ 35 h 35"/>
                  <a:gd name="T2" fmla="*/ 68 w 120"/>
                  <a:gd name="T3" fmla="*/ 34 h 35"/>
                  <a:gd name="T4" fmla="*/ 0 w 120"/>
                  <a:gd name="T5" fmla="*/ 3 h 35"/>
                  <a:gd name="T6" fmla="*/ 0 w 120"/>
                  <a:gd name="T7" fmla="*/ 2 h 35"/>
                  <a:gd name="T8" fmla="*/ 0 w 120"/>
                  <a:gd name="T9" fmla="*/ 0 h 35"/>
                  <a:gd name="T10" fmla="*/ 68 w 120"/>
                  <a:gd name="T11" fmla="*/ 32 h 35"/>
                  <a:gd name="T12" fmla="*/ 119 w 120"/>
                  <a:gd name="T13" fmla="*/ 6 h 35"/>
                  <a:gd name="T14" fmla="*/ 120 w 120"/>
                  <a:gd name="T15" fmla="*/ 8 h 35"/>
                  <a:gd name="T16" fmla="*/ 68 w 120"/>
                  <a:gd name="T1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0" h="35">
                    <a:moveTo>
                      <a:pt x="68" y="35"/>
                    </a:moveTo>
                    <a:cubicBezTo>
                      <a:pt x="68" y="34"/>
                      <a:pt x="68" y="34"/>
                      <a:pt x="68" y="34"/>
                    </a:cubicBezTo>
                    <a:cubicBezTo>
                      <a:pt x="50" y="26"/>
                      <a:pt x="2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68" y="32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20" y="8"/>
                      <a:pt x="120" y="8"/>
                      <a:pt x="120" y="8"/>
                    </a:cubicBezTo>
                    <a:lnTo>
                      <a:pt x="68" y="35"/>
                    </a:lnTo>
                    <a:close/>
                  </a:path>
                </a:pathLst>
              </a:custGeom>
              <a:solidFill>
                <a:srgbClr val="006487"/>
              </a:solidFill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7" name="Rectangle 61"/>
              <p:cNvSpPr>
                <a:spLocks noChangeArrowheads="1"/>
              </p:cNvSpPr>
              <p:nvPr/>
            </p:nvSpPr>
            <p:spPr bwMode="gray">
              <a:xfrm>
                <a:off x="1116006" y="2384274"/>
                <a:ext cx="3071" cy="45299"/>
              </a:xfrm>
              <a:prstGeom prst="rect">
                <a:avLst/>
              </a:prstGeom>
              <a:solidFill>
                <a:srgbClr val="006487"/>
              </a:solidFill>
              <a:ln w="12700">
                <a:solidFill>
                  <a:schemeClr val="accent5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243" name="Freeform 62"/>
            <p:cNvSpPr>
              <a:spLocks noEditPoints="1"/>
            </p:cNvSpPr>
            <p:nvPr/>
          </p:nvSpPr>
          <p:spPr bwMode="gray">
            <a:xfrm>
              <a:off x="1896836" y="2242235"/>
              <a:ext cx="404619" cy="830735"/>
            </a:xfrm>
            <a:custGeom>
              <a:avLst/>
              <a:gdLst>
                <a:gd name="T0" fmla="*/ 26 w 527"/>
                <a:gd name="T1" fmla="*/ 1082 h 1082"/>
                <a:gd name="T2" fmla="*/ 0 w 527"/>
                <a:gd name="T3" fmla="*/ 1067 h 1082"/>
                <a:gd name="T4" fmla="*/ 0 w 527"/>
                <a:gd name="T5" fmla="*/ 175 h 1082"/>
                <a:gd name="T6" fmla="*/ 388 w 527"/>
                <a:gd name="T7" fmla="*/ 0 h 1082"/>
                <a:gd name="T8" fmla="*/ 527 w 527"/>
                <a:gd name="T9" fmla="*/ 90 h 1082"/>
                <a:gd name="T10" fmla="*/ 527 w 527"/>
                <a:gd name="T11" fmla="*/ 833 h 1082"/>
                <a:gd name="T12" fmla="*/ 26 w 527"/>
                <a:gd name="T13" fmla="*/ 1082 h 1082"/>
                <a:gd name="T14" fmla="*/ 12 w 527"/>
                <a:gd name="T15" fmla="*/ 1060 h 1082"/>
                <a:gd name="T16" fmla="*/ 26 w 527"/>
                <a:gd name="T17" fmla="*/ 1067 h 1082"/>
                <a:gd name="T18" fmla="*/ 516 w 527"/>
                <a:gd name="T19" fmla="*/ 826 h 1082"/>
                <a:gd name="T20" fmla="*/ 516 w 527"/>
                <a:gd name="T21" fmla="*/ 97 h 1082"/>
                <a:gd name="T22" fmla="*/ 385 w 527"/>
                <a:gd name="T23" fmla="*/ 12 h 1082"/>
                <a:gd name="T24" fmla="*/ 12 w 527"/>
                <a:gd name="T25" fmla="*/ 182 h 1082"/>
                <a:gd name="T26" fmla="*/ 12 w 527"/>
                <a:gd name="T27" fmla="*/ 1060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1082">
                  <a:moveTo>
                    <a:pt x="26" y="1082"/>
                  </a:moveTo>
                  <a:lnTo>
                    <a:pt x="0" y="1067"/>
                  </a:lnTo>
                  <a:lnTo>
                    <a:pt x="0" y="175"/>
                  </a:lnTo>
                  <a:lnTo>
                    <a:pt x="388" y="0"/>
                  </a:lnTo>
                  <a:lnTo>
                    <a:pt x="527" y="90"/>
                  </a:lnTo>
                  <a:lnTo>
                    <a:pt x="527" y="833"/>
                  </a:lnTo>
                  <a:lnTo>
                    <a:pt x="26" y="1082"/>
                  </a:lnTo>
                  <a:close/>
                  <a:moveTo>
                    <a:pt x="12" y="1060"/>
                  </a:moveTo>
                  <a:lnTo>
                    <a:pt x="26" y="1067"/>
                  </a:lnTo>
                  <a:lnTo>
                    <a:pt x="516" y="826"/>
                  </a:lnTo>
                  <a:lnTo>
                    <a:pt x="516" y="97"/>
                  </a:lnTo>
                  <a:lnTo>
                    <a:pt x="385" y="12"/>
                  </a:lnTo>
                  <a:lnTo>
                    <a:pt x="12" y="182"/>
                  </a:lnTo>
                  <a:lnTo>
                    <a:pt x="12" y="1060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6" name="Freeform 63"/>
            <p:cNvSpPr>
              <a:spLocks/>
            </p:cNvSpPr>
            <p:nvPr/>
          </p:nvSpPr>
          <p:spPr bwMode="gray">
            <a:xfrm>
              <a:off x="1898371" y="2252984"/>
              <a:ext cx="397709" cy="138200"/>
            </a:xfrm>
            <a:custGeom>
              <a:avLst/>
              <a:gdLst>
                <a:gd name="T0" fmla="*/ 24 w 518"/>
                <a:gd name="T1" fmla="*/ 180 h 180"/>
                <a:gd name="T2" fmla="*/ 0 w 518"/>
                <a:gd name="T3" fmla="*/ 171 h 180"/>
                <a:gd name="T4" fmla="*/ 3 w 518"/>
                <a:gd name="T5" fmla="*/ 164 h 180"/>
                <a:gd name="T6" fmla="*/ 24 w 518"/>
                <a:gd name="T7" fmla="*/ 173 h 180"/>
                <a:gd name="T8" fmla="*/ 405 w 518"/>
                <a:gd name="T9" fmla="*/ 0 h 180"/>
                <a:gd name="T10" fmla="*/ 405 w 518"/>
                <a:gd name="T11" fmla="*/ 126 h 180"/>
                <a:gd name="T12" fmla="*/ 516 w 518"/>
                <a:gd name="T13" fmla="*/ 78 h 180"/>
                <a:gd name="T14" fmla="*/ 518 w 518"/>
                <a:gd name="T15" fmla="*/ 86 h 180"/>
                <a:gd name="T16" fmla="*/ 398 w 518"/>
                <a:gd name="T17" fmla="*/ 135 h 180"/>
                <a:gd name="T18" fmla="*/ 398 w 518"/>
                <a:gd name="T19" fmla="*/ 12 h 180"/>
                <a:gd name="T20" fmla="*/ 24 w 518"/>
                <a:gd name="T2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8" h="180">
                  <a:moveTo>
                    <a:pt x="24" y="180"/>
                  </a:moveTo>
                  <a:lnTo>
                    <a:pt x="0" y="171"/>
                  </a:lnTo>
                  <a:lnTo>
                    <a:pt x="3" y="164"/>
                  </a:lnTo>
                  <a:lnTo>
                    <a:pt x="24" y="173"/>
                  </a:lnTo>
                  <a:lnTo>
                    <a:pt x="405" y="0"/>
                  </a:lnTo>
                  <a:lnTo>
                    <a:pt x="405" y="126"/>
                  </a:lnTo>
                  <a:lnTo>
                    <a:pt x="516" y="78"/>
                  </a:lnTo>
                  <a:lnTo>
                    <a:pt x="518" y="86"/>
                  </a:lnTo>
                  <a:lnTo>
                    <a:pt x="398" y="135"/>
                  </a:lnTo>
                  <a:lnTo>
                    <a:pt x="398" y="12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Rectangle 64"/>
            <p:cNvSpPr>
              <a:spLocks noChangeArrowheads="1"/>
            </p:cNvSpPr>
            <p:nvPr/>
          </p:nvSpPr>
          <p:spPr bwMode="gray">
            <a:xfrm>
              <a:off x="1912959" y="2389648"/>
              <a:ext cx="5375" cy="679483"/>
            </a:xfrm>
            <a:prstGeom prst="rect">
              <a:avLst/>
            </a:prstGeom>
            <a:solidFill>
              <a:srgbClr val="006487"/>
            </a:solidFill>
            <a:ln w="1270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65"/>
            <p:cNvSpPr>
              <a:spLocks noEditPoints="1"/>
            </p:cNvSpPr>
            <p:nvPr/>
          </p:nvSpPr>
          <p:spPr bwMode="gray">
            <a:xfrm>
              <a:off x="1991273" y="2768930"/>
              <a:ext cx="235708" cy="152788"/>
            </a:xfrm>
            <a:custGeom>
              <a:avLst/>
              <a:gdLst>
                <a:gd name="T0" fmla="*/ 5 w 307"/>
                <a:gd name="T1" fmla="*/ 199 h 199"/>
                <a:gd name="T2" fmla="*/ 0 w 307"/>
                <a:gd name="T3" fmla="*/ 187 h 199"/>
                <a:gd name="T4" fmla="*/ 303 w 307"/>
                <a:gd name="T5" fmla="*/ 41 h 199"/>
                <a:gd name="T6" fmla="*/ 307 w 307"/>
                <a:gd name="T7" fmla="*/ 52 h 199"/>
                <a:gd name="T8" fmla="*/ 5 w 307"/>
                <a:gd name="T9" fmla="*/ 199 h 199"/>
                <a:gd name="T10" fmla="*/ 5 w 307"/>
                <a:gd name="T11" fmla="*/ 159 h 199"/>
                <a:gd name="T12" fmla="*/ 0 w 307"/>
                <a:gd name="T13" fmla="*/ 147 h 199"/>
                <a:gd name="T14" fmla="*/ 300 w 307"/>
                <a:gd name="T15" fmla="*/ 0 h 199"/>
                <a:gd name="T16" fmla="*/ 307 w 307"/>
                <a:gd name="T17" fmla="*/ 10 h 199"/>
                <a:gd name="T18" fmla="*/ 5 w 307"/>
                <a:gd name="T19" fmla="*/ 15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7" h="199">
                  <a:moveTo>
                    <a:pt x="5" y="199"/>
                  </a:moveTo>
                  <a:lnTo>
                    <a:pt x="0" y="187"/>
                  </a:lnTo>
                  <a:lnTo>
                    <a:pt x="303" y="41"/>
                  </a:lnTo>
                  <a:lnTo>
                    <a:pt x="307" y="52"/>
                  </a:lnTo>
                  <a:lnTo>
                    <a:pt x="5" y="199"/>
                  </a:lnTo>
                  <a:close/>
                  <a:moveTo>
                    <a:pt x="5" y="159"/>
                  </a:moveTo>
                  <a:lnTo>
                    <a:pt x="0" y="147"/>
                  </a:lnTo>
                  <a:lnTo>
                    <a:pt x="300" y="0"/>
                  </a:lnTo>
                  <a:lnTo>
                    <a:pt x="307" y="10"/>
                  </a:lnTo>
                  <a:lnTo>
                    <a:pt x="5" y="159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66"/>
            <p:cNvSpPr>
              <a:spLocks/>
            </p:cNvSpPr>
            <p:nvPr/>
          </p:nvSpPr>
          <p:spPr bwMode="gray">
            <a:xfrm>
              <a:off x="1991273" y="2881794"/>
              <a:ext cx="128987" cy="69100"/>
            </a:xfrm>
            <a:custGeom>
              <a:avLst/>
              <a:gdLst>
                <a:gd name="T0" fmla="*/ 7 w 168"/>
                <a:gd name="T1" fmla="*/ 90 h 90"/>
                <a:gd name="T2" fmla="*/ 0 w 168"/>
                <a:gd name="T3" fmla="*/ 78 h 90"/>
                <a:gd name="T4" fmla="*/ 163 w 168"/>
                <a:gd name="T5" fmla="*/ 0 h 90"/>
                <a:gd name="T6" fmla="*/ 168 w 168"/>
                <a:gd name="T7" fmla="*/ 12 h 90"/>
                <a:gd name="T8" fmla="*/ 7 w 168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90">
                  <a:moveTo>
                    <a:pt x="7" y="90"/>
                  </a:moveTo>
                  <a:lnTo>
                    <a:pt x="0" y="78"/>
                  </a:lnTo>
                  <a:lnTo>
                    <a:pt x="163" y="0"/>
                  </a:lnTo>
                  <a:lnTo>
                    <a:pt x="168" y="12"/>
                  </a:lnTo>
                  <a:lnTo>
                    <a:pt x="7" y="90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67"/>
            <p:cNvSpPr>
              <a:spLocks noEditPoints="1"/>
            </p:cNvSpPr>
            <p:nvPr/>
          </p:nvSpPr>
          <p:spPr bwMode="gray">
            <a:xfrm>
              <a:off x="2056533" y="2625356"/>
              <a:ext cx="90598" cy="140503"/>
            </a:xfrm>
            <a:custGeom>
              <a:avLst/>
              <a:gdLst>
                <a:gd name="T0" fmla="*/ 16 w 50"/>
                <a:gd name="T1" fmla="*/ 76 h 77"/>
                <a:gd name="T2" fmla="*/ 16 w 50"/>
                <a:gd name="T3" fmla="*/ 72 h 77"/>
                <a:gd name="T4" fmla="*/ 9 w 50"/>
                <a:gd name="T5" fmla="*/ 65 h 77"/>
                <a:gd name="T6" fmla="*/ 9 w 50"/>
                <a:gd name="T7" fmla="*/ 56 h 77"/>
                <a:gd name="T8" fmla="*/ 6 w 50"/>
                <a:gd name="T9" fmla="*/ 52 h 77"/>
                <a:gd name="T10" fmla="*/ 9 w 50"/>
                <a:gd name="T11" fmla="*/ 45 h 77"/>
                <a:gd name="T12" fmla="*/ 1 w 50"/>
                <a:gd name="T13" fmla="*/ 23 h 77"/>
                <a:gd name="T14" fmla="*/ 24 w 50"/>
                <a:gd name="T15" fmla="*/ 16 h 77"/>
                <a:gd name="T16" fmla="*/ 48 w 50"/>
                <a:gd name="T17" fmla="*/ 0 h 77"/>
                <a:gd name="T18" fmla="*/ 40 w 50"/>
                <a:gd name="T19" fmla="*/ 31 h 77"/>
                <a:gd name="T20" fmla="*/ 44 w 50"/>
                <a:gd name="T21" fmla="*/ 35 h 77"/>
                <a:gd name="T22" fmla="*/ 41 w 50"/>
                <a:gd name="T23" fmla="*/ 42 h 77"/>
                <a:gd name="T24" fmla="*/ 41 w 50"/>
                <a:gd name="T25" fmla="*/ 51 h 77"/>
                <a:gd name="T26" fmla="*/ 34 w 50"/>
                <a:gd name="T27" fmla="*/ 64 h 77"/>
                <a:gd name="T28" fmla="*/ 34 w 50"/>
                <a:gd name="T29" fmla="*/ 69 h 77"/>
                <a:gd name="T30" fmla="*/ 18 w 50"/>
                <a:gd name="T31" fmla="*/ 77 h 77"/>
                <a:gd name="T32" fmla="*/ 19 w 50"/>
                <a:gd name="T33" fmla="*/ 71 h 77"/>
                <a:gd name="T34" fmla="*/ 24 w 50"/>
                <a:gd name="T35" fmla="*/ 72 h 77"/>
                <a:gd name="T36" fmla="*/ 31 w 50"/>
                <a:gd name="T37" fmla="*/ 63 h 77"/>
                <a:gd name="T38" fmla="*/ 37 w 50"/>
                <a:gd name="T39" fmla="*/ 49 h 77"/>
                <a:gd name="T40" fmla="*/ 41 w 50"/>
                <a:gd name="T41" fmla="*/ 45 h 77"/>
                <a:gd name="T42" fmla="*/ 37 w 50"/>
                <a:gd name="T43" fmla="*/ 45 h 77"/>
                <a:gd name="T44" fmla="*/ 38 w 50"/>
                <a:gd name="T45" fmla="*/ 39 h 77"/>
                <a:gd name="T46" fmla="*/ 39 w 50"/>
                <a:gd name="T47" fmla="*/ 35 h 77"/>
                <a:gd name="T48" fmla="*/ 37 w 50"/>
                <a:gd name="T49" fmla="*/ 30 h 77"/>
                <a:gd name="T50" fmla="*/ 45 w 50"/>
                <a:gd name="T51" fmla="*/ 6 h 77"/>
                <a:gd name="T52" fmla="*/ 4 w 50"/>
                <a:gd name="T53" fmla="*/ 26 h 77"/>
                <a:gd name="T54" fmla="*/ 12 w 50"/>
                <a:gd name="T55" fmla="*/ 43 h 77"/>
                <a:gd name="T56" fmla="*/ 12 w 50"/>
                <a:gd name="T57" fmla="*/ 48 h 77"/>
                <a:gd name="T58" fmla="*/ 10 w 50"/>
                <a:gd name="T59" fmla="*/ 52 h 77"/>
                <a:gd name="T60" fmla="*/ 12 w 50"/>
                <a:gd name="T61" fmla="*/ 58 h 77"/>
                <a:gd name="T62" fmla="*/ 9 w 50"/>
                <a:gd name="T63" fmla="*/ 62 h 77"/>
                <a:gd name="T64" fmla="*/ 12 w 50"/>
                <a:gd name="T65" fmla="*/ 6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" h="77">
                  <a:moveTo>
                    <a:pt x="18" y="77"/>
                  </a:moveTo>
                  <a:cubicBezTo>
                    <a:pt x="17" y="77"/>
                    <a:pt x="17" y="77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7" y="65"/>
                    <a:pt x="6" y="63"/>
                    <a:pt x="6" y="62"/>
                  </a:cubicBezTo>
                  <a:cubicBezTo>
                    <a:pt x="6" y="60"/>
                    <a:pt x="7" y="58"/>
                    <a:pt x="9" y="56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7" y="55"/>
                    <a:pt x="6" y="53"/>
                    <a:pt x="6" y="52"/>
                  </a:cubicBezTo>
                  <a:cubicBezTo>
                    <a:pt x="6" y="50"/>
                    <a:pt x="7" y="48"/>
                    <a:pt x="9" y="47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6" y="43"/>
                    <a:pt x="0" y="38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12" y="22"/>
                    <a:pt x="24" y="16"/>
                  </a:cubicBezTo>
                  <a:cubicBezTo>
                    <a:pt x="36" y="10"/>
                    <a:pt x="45" y="2"/>
                    <a:pt x="46" y="2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50" y="17"/>
                    <a:pt x="42" y="28"/>
                    <a:pt x="40" y="31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2" y="32"/>
                    <a:pt x="44" y="34"/>
                    <a:pt x="44" y="35"/>
                  </a:cubicBezTo>
                  <a:cubicBezTo>
                    <a:pt x="44" y="37"/>
                    <a:pt x="42" y="39"/>
                    <a:pt x="41" y="41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2" y="42"/>
                    <a:pt x="44" y="43"/>
                    <a:pt x="44" y="45"/>
                  </a:cubicBezTo>
                  <a:cubicBezTo>
                    <a:pt x="44" y="47"/>
                    <a:pt x="42" y="49"/>
                    <a:pt x="41" y="51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2" y="72"/>
                    <a:pt x="26" y="74"/>
                    <a:pt x="26" y="75"/>
                  </a:cubicBezTo>
                  <a:cubicBezTo>
                    <a:pt x="25" y="75"/>
                    <a:pt x="21" y="77"/>
                    <a:pt x="18" y="77"/>
                  </a:cubicBezTo>
                  <a:close/>
                  <a:moveTo>
                    <a:pt x="12" y="66"/>
                  </a:moveTo>
                  <a:cubicBezTo>
                    <a:pt x="19" y="71"/>
                    <a:pt x="19" y="71"/>
                    <a:pt x="19" y="71"/>
                  </a:cubicBezTo>
                  <a:cubicBezTo>
                    <a:pt x="19" y="74"/>
                    <a:pt x="19" y="74"/>
                    <a:pt x="19" y="74"/>
                  </a:cubicBezTo>
                  <a:cubicBezTo>
                    <a:pt x="20" y="74"/>
                    <a:pt x="23" y="73"/>
                    <a:pt x="24" y="72"/>
                  </a:cubicBezTo>
                  <a:cubicBezTo>
                    <a:pt x="26" y="71"/>
                    <a:pt x="30" y="69"/>
                    <a:pt x="31" y="67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40" y="48"/>
                    <a:pt x="41" y="46"/>
                    <a:pt x="41" y="45"/>
                  </a:cubicBezTo>
                  <a:cubicBezTo>
                    <a:pt x="41" y="45"/>
                    <a:pt x="40" y="45"/>
                    <a:pt x="39" y="45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40" y="38"/>
                    <a:pt x="41" y="36"/>
                    <a:pt x="41" y="35"/>
                  </a:cubicBezTo>
                  <a:cubicBezTo>
                    <a:pt x="40" y="35"/>
                    <a:pt x="40" y="35"/>
                    <a:pt x="39" y="35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45" y="19"/>
                    <a:pt x="45" y="6"/>
                  </a:cubicBezTo>
                  <a:cubicBezTo>
                    <a:pt x="42" y="9"/>
                    <a:pt x="34" y="15"/>
                    <a:pt x="25" y="19"/>
                  </a:cubicBezTo>
                  <a:cubicBezTo>
                    <a:pt x="15" y="24"/>
                    <a:pt x="7" y="25"/>
                    <a:pt x="4" y="26"/>
                  </a:cubicBezTo>
                  <a:cubicBezTo>
                    <a:pt x="3" y="39"/>
                    <a:pt x="11" y="42"/>
                    <a:pt x="11" y="4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0" y="50"/>
                    <a:pt x="9" y="51"/>
                    <a:pt x="9" y="52"/>
                  </a:cubicBezTo>
                  <a:cubicBezTo>
                    <a:pt x="9" y="52"/>
                    <a:pt x="10" y="52"/>
                    <a:pt x="10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0" y="60"/>
                    <a:pt x="9" y="61"/>
                    <a:pt x="9" y="62"/>
                  </a:cubicBezTo>
                  <a:cubicBezTo>
                    <a:pt x="10" y="62"/>
                    <a:pt x="10" y="62"/>
                    <a:pt x="11" y="62"/>
                  </a:cubicBezTo>
                  <a:cubicBezTo>
                    <a:pt x="12" y="62"/>
                    <a:pt x="12" y="62"/>
                    <a:pt x="12" y="62"/>
                  </a:cubicBezTo>
                  <a:lnTo>
                    <a:pt x="12" y="66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68"/>
            <p:cNvSpPr>
              <a:spLocks noEditPoints="1"/>
            </p:cNvSpPr>
            <p:nvPr/>
          </p:nvSpPr>
          <p:spPr bwMode="gray">
            <a:xfrm>
              <a:off x="1998182" y="2400397"/>
              <a:ext cx="201926" cy="259509"/>
            </a:xfrm>
            <a:custGeom>
              <a:avLst/>
              <a:gdLst>
                <a:gd name="T0" fmla="*/ 34 w 111"/>
                <a:gd name="T1" fmla="*/ 143 h 143"/>
                <a:gd name="T2" fmla="*/ 34 w 111"/>
                <a:gd name="T3" fmla="*/ 141 h 143"/>
                <a:gd name="T4" fmla="*/ 30 w 111"/>
                <a:gd name="T5" fmla="*/ 123 h 143"/>
                <a:gd name="T6" fmla="*/ 30 w 111"/>
                <a:gd name="T7" fmla="*/ 123 h 143"/>
                <a:gd name="T8" fmla="*/ 20 w 111"/>
                <a:gd name="T9" fmla="*/ 104 h 143"/>
                <a:gd name="T10" fmla="*/ 20 w 111"/>
                <a:gd name="T11" fmla="*/ 104 h 143"/>
                <a:gd name="T12" fmla="*/ 26 w 111"/>
                <a:gd name="T13" fmla="*/ 30 h 143"/>
                <a:gd name="T14" fmla="*/ 54 w 111"/>
                <a:gd name="T15" fmla="*/ 4 h 143"/>
                <a:gd name="T16" fmla="*/ 55 w 111"/>
                <a:gd name="T17" fmla="*/ 4 h 143"/>
                <a:gd name="T18" fmla="*/ 72 w 111"/>
                <a:gd name="T19" fmla="*/ 0 h 143"/>
                <a:gd name="T20" fmla="*/ 84 w 111"/>
                <a:gd name="T21" fmla="*/ 3 h 143"/>
                <a:gd name="T22" fmla="*/ 93 w 111"/>
                <a:gd name="T23" fmla="*/ 70 h 143"/>
                <a:gd name="T24" fmla="*/ 83 w 111"/>
                <a:gd name="T25" fmla="*/ 99 h 143"/>
                <a:gd name="T26" fmla="*/ 79 w 111"/>
                <a:gd name="T27" fmla="*/ 121 h 143"/>
                <a:gd name="T28" fmla="*/ 79 w 111"/>
                <a:gd name="T29" fmla="*/ 121 h 143"/>
                <a:gd name="T30" fmla="*/ 79 w 111"/>
                <a:gd name="T31" fmla="*/ 122 h 143"/>
                <a:gd name="T32" fmla="*/ 36 w 111"/>
                <a:gd name="T33" fmla="*/ 142 h 143"/>
                <a:gd name="T34" fmla="*/ 34 w 111"/>
                <a:gd name="T35" fmla="*/ 143 h 143"/>
                <a:gd name="T36" fmla="*/ 22 w 111"/>
                <a:gd name="T37" fmla="*/ 102 h 143"/>
                <a:gd name="T38" fmla="*/ 33 w 111"/>
                <a:gd name="T39" fmla="*/ 122 h 143"/>
                <a:gd name="T40" fmla="*/ 36 w 111"/>
                <a:gd name="T41" fmla="*/ 139 h 143"/>
                <a:gd name="T42" fmla="*/ 76 w 111"/>
                <a:gd name="T43" fmla="*/ 120 h 143"/>
                <a:gd name="T44" fmla="*/ 80 w 111"/>
                <a:gd name="T45" fmla="*/ 99 h 143"/>
                <a:gd name="T46" fmla="*/ 90 w 111"/>
                <a:gd name="T47" fmla="*/ 69 h 143"/>
                <a:gd name="T48" fmla="*/ 83 w 111"/>
                <a:gd name="T49" fmla="*/ 6 h 143"/>
                <a:gd name="T50" fmla="*/ 72 w 111"/>
                <a:gd name="T51" fmla="*/ 3 h 143"/>
                <a:gd name="T52" fmla="*/ 56 w 111"/>
                <a:gd name="T53" fmla="*/ 7 h 143"/>
                <a:gd name="T54" fmla="*/ 56 w 111"/>
                <a:gd name="T55" fmla="*/ 7 h 143"/>
                <a:gd name="T56" fmla="*/ 29 w 111"/>
                <a:gd name="T57" fmla="*/ 32 h 143"/>
                <a:gd name="T58" fmla="*/ 22 w 111"/>
                <a:gd name="T59" fmla="*/ 10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1" h="143">
                  <a:moveTo>
                    <a:pt x="34" y="143"/>
                  </a:moveTo>
                  <a:cubicBezTo>
                    <a:pt x="34" y="141"/>
                    <a:pt x="34" y="141"/>
                    <a:pt x="34" y="141"/>
                  </a:cubicBezTo>
                  <a:cubicBezTo>
                    <a:pt x="32" y="136"/>
                    <a:pt x="30" y="130"/>
                    <a:pt x="30" y="123"/>
                  </a:cubicBezTo>
                  <a:cubicBezTo>
                    <a:pt x="30" y="123"/>
                    <a:pt x="30" y="123"/>
                    <a:pt x="30" y="123"/>
                  </a:cubicBezTo>
                  <a:cubicBezTo>
                    <a:pt x="30" y="123"/>
                    <a:pt x="27" y="110"/>
                    <a:pt x="20" y="104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19" y="103"/>
                    <a:pt x="0" y="69"/>
                    <a:pt x="26" y="30"/>
                  </a:cubicBezTo>
                  <a:cubicBezTo>
                    <a:pt x="26" y="30"/>
                    <a:pt x="36" y="14"/>
                    <a:pt x="54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61" y="2"/>
                    <a:pt x="67" y="0"/>
                    <a:pt x="72" y="0"/>
                  </a:cubicBezTo>
                  <a:cubicBezTo>
                    <a:pt x="80" y="0"/>
                    <a:pt x="84" y="3"/>
                    <a:pt x="84" y="3"/>
                  </a:cubicBezTo>
                  <a:cubicBezTo>
                    <a:pt x="111" y="17"/>
                    <a:pt x="93" y="68"/>
                    <a:pt x="93" y="70"/>
                  </a:cubicBezTo>
                  <a:cubicBezTo>
                    <a:pt x="86" y="83"/>
                    <a:pt x="83" y="99"/>
                    <a:pt x="83" y="99"/>
                  </a:cubicBezTo>
                  <a:cubicBezTo>
                    <a:pt x="82" y="107"/>
                    <a:pt x="81" y="114"/>
                    <a:pt x="79" y="121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79" y="122"/>
                    <a:pt x="79" y="122"/>
                    <a:pt x="79" y="122"/>
                  </a:cubicBezTo>
                  <a:cubicBezTo>
                    <a:pt x="59" y="137"/>
                    <a:pt x="42" y="141"/>
                    <a:pt x="36" y="142"/>
                  </a:cubicBezTo>
                  <a:lnTo>
                    <a:pt x="34" y="143"/>
                  </a:lnTo>
                  <a:close/>
                  <a:moveTo>
                    <a:pt x="22" y="102"/>
                  </a:moveTo>
                  <a:cubicBezTo>
                    <a:pt x="30" y="109"/>
                    <a:pt x="33" y="122"/>
                    <a:pt x="33" y="122"/>
                  </a:cubicBezTo>
                  <a:cubicBezTo>
                    <a:pt x="33" y="129"/>
                    <a:pt x="34" y="134"/>
                    <a:pt x="36" y="139"/>
                  </a:cubicBezTo>
                  <a:cubicBezTo>
                    <a:pt x="43" y="138"/>
                    <a:pt x="59" y="133"/>
                    <a:pt x="76" y="120"/>
                  </a:cubicBezTo>
                  <a:cubicBezTo>
                    <a:pt x="78" y="113"/>
                    <a:pt x="79" y="106"/>
                    <a:pt x="80" y="99"/>
                  </a:cubicBezTo>
                  <a:cubicBezTo>
                    <a:pt x="80" y="98"/>
                    <a:pt x="83" y="82"/>
                    <a:pt x="90" y="69"/>
                  </a:cubicBezTo>
                  <a:cubicBezTo>
                    <a:pt x="90" y="68"/>
                    <a:pt x="108" y="18"/>
                    <a:pt x="83" y="6"/>
                  </a:cubicBezTo>
                  <a:cubicBezTo>
                    <a:pt x="83" y="6"/>
                    <a:pt x="79" y="3"/>
                    <a:pt x="72" y="3"/>
                  </a:cubicBezTo>
                  <a:cubicBezTo>
                    <a:pt x="67" y="3"/>
                    <a:pt x="62" y="5"/>
                    <a:pt x="56" y="7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38" y="17"/>
                    <a:pt x="29" y="32"/>
                    <a:pt x="29" y="32"/>
                  </a:cubicBezTo>
                  <a:cubicBezTo>
                    <a:pt x="5" y="68"/>
                    <a:pt x="21" y="99"/>
                    <a:pt x="22" y="102"/>
                  </a:cubicBez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69"/>
            <p:cNvSpPr>
              <a:spLocks/>
            </p:cNvSpPr>
            <p:nvPr/>
          </p:nvSpPr>
          <p:spPr bwMode="gray">
            <a:xfrm>
              <a:off x="2072657" y="2527848"/>
              <a:ext cx="51441" cy="121309"/>
            </a:xfrm>
            <a:custGeom>
              <a:avLst/>
              <a:gdLst>
                <a:gd name="T0" fmla="*/ 17 w 67"/>
                <a:gd name="T1" fmla="*/ 158 h 158"/>
                <a:gd name="T2" fmla="*/ 0 w 67"/>
                <a:gd name="T3" fmla="*/ 30 h 158"/>
                <a:gd name="T4" fmla="*/ 67 w 67"/>
                <a:gd name="T5" fmla="*/ 0 h 158"/>
                <a:gd name="T6" fmla="*/ 55 w 67"/>
                <a:gd name="T7" fmla="*/ 144 h 158"/>
                <a:gd name="T8" fmla="*/ 48 w 67"/>
                <a:gd name="T9" fmla="*/ 144 h 158"/>
                <a:gd name="T10" fmla="*/ 59 w 67"/>
                <a:gd name="T11" fmla="*/ 12 h 158"/>
                <a:gd name="T12" fmla="*/ 10 w 67"/>
                <a:gd name="T13" fmla="*/ 35 h 158"/>
                <a:gd name="T14" fmla="*/ 24 w 67"/>
                <a:gd name="T15" fmla="*/ 158 h 158"/>
                <a:gd name="T16" fmla="*/ 17 w 67"/>
                <a:gd name="T1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58">
                  <a:moveTo>
                    <a:pt x="17" y="158"/>
                  </a:moveTo>
                  <a:lnTo>
                    <a:pt x="0" y="30"/>
                  </a:lnTo>
                  <a:lnTo>
                    <a:pt x="67" y="0"/>
                  </a:lnTo>
                  <a:lnTo>
                    <a:pt x="55" y="144"/>
                  </a:lnTo>
                  <a:lnTo>
                    <a:pt x="48" y="144"/>
                  </a:lnTo>
                  <a:lnTo>
                    <a:pt x="59" y="12"/>
                  </a:lnTo>
                  <a:lnTo>
                    <a:pt x="10" y="35"/>
                  </a:lnTo>
                  <a:lnTo>
                    <a:pt x="24" y="158"/>
                  </a:lnTo>
                  <a:lnTo>
                    <a:pt x="17" y="158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70"/>
            <p:cNvSpPr>
              <a:spLocks/>
            </p:cNvSpPr>
            <p:nvPr/>
          </p:nvSpPr>
          <p:spPr bwMode="gray">
            <a:xfrm>
              <a:off x="2085709" y="2537062"/>
              <a:ext cx="5375" cy="23033"/>
            </a:xfrm>
            <a:custGeom>
              <a:avLst/>
              <a:gdLst>
                <a:gd name="T0" fmla="*/ 2 w 3"/>
                <a:gd name="T1" fmla="*/ 12 h 13"/>
                <a:gd name="T2" fmla="*/ 3 w 3"/>
                <a:gd name="T3" fmla="*/ 5 h 13"/>
                <a:gd name="T4" fmla="*/ 1 w 3"/>
                <a:gd name="T5" fmla="*/ 0 h 13"/>
                <a:gd name="T6" fmla="*/ 0 w 3"/>
                <a:gd name="T7" fmla="*/ 7 h 13"/>
                <a:gd name="T8" fmla="*/ 2 w 3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3">
                  <a:moveTo>
                    <a:pt x="2" y="12"/>
                  </a:moveTo>
                  <a:cubicBezTo>
                    <a:pt x="2" y="12"/>
                    <a:pt x="3" y="9"/>
                    <a:pt x="3" y="5"/>
                  </a:cubicBezTo>
                  <a:cubicBezTo>
                    <a:pt x="3" y="2"/>
                    <a:pt x="2" y="0"/>
                    <a:pt x="1" y="0"/>
                  </a:cubicBezTo>
                  <a:cubicBezTo>
                    <a:pt x="1" y="0"/>
                    <a:pt x="0" y="3"/>
                    <a:pt x="0" y="7"/>
                  </a:cubicBezTo>
                  <a:cubicBezTo>
                    <a:pt x="0" y="10"/>
                    <a:pt x="1" y="13"/>
                    <a:pt x="2" y="12"/>
                  </a:cubicBezTo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71"/>
            <p:cNvSpPr>
              <a:spLocks/>
            </p:cNvSpPr>
            <p:nvPr/>
          </p:nvSpPr>
          <p:spPr bwMode="gray">
            <a:xfrm>
              <a:off x="2078031" y="2529384"/>
              <a:ext cx="19962" cy="38389"/>
            </a:xfrm>
            <a:custGeom>
              <a:avLst/>
              <a:gdLst>
                <a:gd name="T0" fmla="*/ 5 w 11"/>
                <a:gd name="T1" fmla="*/ 21 h 21"/>
                <a:gd name="T2" fmla="*/ 0 w 11"/>
                <a:gd name="T3" fmla="*/ 11 h 21"/>
                <a:gd name="T4" fmla="*/ 4 w 11"/>
                <a:gd name="T5" fmla="*/ 0 h 21"/>
                <a:gd name="T6" fmla="*/ 5 w 11"/>
                <a:gd name="T7" fmla="*/ 0 h 21"/>
                <a:gd name="T8" fmla="*/ 6 w 11"/>
                <a:gd name="T9" fmla="*/ 0 h 21"/>
                <a:gd name="T10" fmla="*/ 11 w 11"/>
                <a:gd name="T11" fmla="*/ 9 h 21"/>
                <a:gd name="T12" fmla="*/ 7 w 11"/>
                <a:gd name="T13" fmla="*/ 20 h 21"/>
                <a:gd name="T14" fmla="*/ 7 w 11"/>
                <a:gd name="T15" fmla="*/ 20 h 21"/>
                <a:gd name="T16" fmla="*/ 5 w 11"/>
                <a:gd name="T1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1">
                  <a:moveTo>
                    <a:pt x="5" y="21"/>
                  </a:moveTo>
                  <a:cubicBezTo>
                    <a:pt x="3" y="21"/>
                    <a:pt x="0" y="19"/>
                    <a:pt x="0" y="11"/>
                  </a:cubicBezTo>
                  <a:cubicBezTo>
                    <a:pt x="0" y="5"/>
                    <a:pt x="1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0"/>
                    <a:pt x="11" y="1"/>
                    <a:pt x="11" y="9"/>
                  </a:cubicBezTo>
                  <a:cubicBezTo>
                    <a:pt x="11" y="13"/>
                    <a:pt x="11" y="18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lnTo>
                    <a:pt x="5" y="21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72"/>
            <p:cNvSpPr>
              <a:spLocks/>
            </p:cNvSpPr>
            <p:nvPr/>
          </p:nvSpPr>
          <p:spPr bwMode="gray">
            <a:xfrm>
              <a:off x="2094922" y="2530919"/>
              <a:ext cx="5375" cy="23801"/>
            </a:xfrm>
            <a:custGeom>
              <a:avLst/>
              <a:gdLst>
                <a:gd name="T0" fmla="*/ 2 w 3"/>
                <a:gd name="T1" fmla="*/ 13 h 13"/>
                <a:gd name="T2" fmla="*/ 3 w 3"/>
                <a:gd name="T3" fmla="*/ 6 h 13"/>
                <a:gd name="T4" fmla="*/ 2 w 3"/>
                <a:gd name="T5" fmla="*/ 0 h 13"/>
                <a:gd name="T6" fmla="*/ 0 w 3"/>
                <a:gd name="T7" fmla="*/ 7 h 13"/>
                <a:gd name="T8" fmla="*/ 2 w 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3">
                  <a:moveTo>
                    <a:pt x="2" y="13"/>
                  </a:moveTo>
                  <a:cubicBezTo>
                    <a:pt x="3" y="12"/>
                    <a:pt x="3" y="9"/>
                    <a:pt x="3" y="6"/>
                  </a:cubicBezTo>
                  <a:cubicBezTo>
                    <a:pt x="3" y="2"/>
                    <a:pt x="3" y="0"/>
                    <a:pt x="2" y="0"/>
                  </a:cubicBezTo>
                  <a:cubicBezTo>
                    <a:pt x="1" y="1"/>
                    <a:pt x="0" y="4"/>
                    <a:pt x="0" y="7"/>
                  </a:cubicBezTo>
                  <a:cubicBezTo>
                    <a:pt x="0" y="11"/>
                    <a:pt x="1" y="13"/>
                    <a:pt x="2" y="13"/>
                  </a:cubicBezTo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73"/>
            <p:cNvSpPr>
              <a:spLocks/>
            </p:cNvSpPr>
            <p:nvPr/>
          </p:nvSpPr>
          <p:spPr bwMode="gray">
            <a:xfrm>
              <a:off x="2087245" y="2524010"/>
              <a:ext cx="22266" cy="38389"/>
            </a:xfrm>
            <a:custGeom>
              <a:avLst/>
              <a:gdLst>
                <a:gd name="T0" fmla="*/ 6 w 12"/>
                <a:gd name="T1" fmla="*/ 21 h 21"/>
                <a:gd name="T2" fmla="*/ 0 w 12"/>
                <a:gd name="T3" fmla="*/ 11 h 21"/>
                <a:gd name="T4" fmla="*/ 4 w 12"/>
                <a:gd name="T5" fmla="*/ 1 h 21"/>
                <a:gd name="T6" fmla="*/ 5 w 12"/>
                <a:gd name="T7" fmla="*/ 0 h 21"/>
                <a:gd name="T8" fmla="*/ 6 w 12"/>
                <a:gd name="T9" fmla="*/ 0 h 21"/>
                <a:gd name="T10" fmla="*/ 12 w 12"/>
                <a:gd name="T11" fmla="*/ 10 h 21"/>
                <a:gd name="T12" fmla="*/ 8 w 12"/>
                <a:gd name="T13" fmla="*/ 20 h 21"/>
                <a:gd name="T14" fmla="*/ 7 w 12"/>
                <a:gd name="T15" fmla="*/ 21 h 21"/>
                <a:gd name="T16" fmla="*/ 6 w 12"/>
                <a:gd name="T1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1">
                  <a:moveTo>
                    <a:pt x="6" y="21"/>
                  </a:moveTo>
                  <a:cubicBezTo>
                    <a:pt x="3" y="21"/>
                    <a:pt x="0" y="19"/>
                    <a:pt x="0" y="11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2"/>
                    <a:pt x="12" y="10"/>
                  </a:cubicBezTo>
                  <a:cubicBezTo>
                    <a:pt x="12" y="16"/>
                    <a:pt x="10" y="19"/>
                    <a:pt x="8" y="20"/>
                  </a:cubicBezTo>
                  <a:cubicBezTo>
                    <a:pt x="7" y="21"/>
                    <a:pt x="7" y="21"/>
                    <a:pt x="7" y="21"/>
                  </a:cubicBezTo>
                  <a:lnTo>
                    <a:pt x="6" y="21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74"/>
            <p:cNvSpPr>
              <a:spLocks/>
            </p:cNvSpPr>
            <p:nvPr/>
          </p:nvSpPr>
          <p:spPr bwMode="gray">
            <a:xfrm>
              <a:off x="2105671" y="2525545"/>
              <a:ext cx="5375" cy="25337"/>
            </a:xfrm>
            <a:custGeom>
              <a:avLst/>
              <a:gdLst>
                <a:gd name="T0" fmla="*/ 1 w 3"/>
                <a:gd name="T1" fmla="*/ 13 h 14"/>
                <a:gd name="T2" fmla="*/ 3 w 3"/>
                <a:gd name="T3" fmla="*/ 6 h 14"/>
                <a:gd name="T4" fmla="*/ 1 w 3"/>
                <a:gd name="T5" fmla="*/ 1 h 14"/>
                <a:gd name="T6" fmla="*/ 0 w 3"/>
                <a:gd name="T7" fmla="*/ 8 h 14"/>
                <a:gd name="T8" fmla="*/ 1 w 3"/>
                <a:gd name="T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4">
                  <a:moveTo>
                    <a:pt x="1" y="13"/>
                  </a:moveTo>
                  <a:cubicBezTo>
                    <a:pt x="2" y="13"/>
                    <a:pt x="3" y="10"/>
                    <a:pt x="3" y="6"/>
                  </a:cubicBezTo>
                  <a:cubicBezTo>
                    <a:pt x="3" y="3"/>
                    <a:pt x="2" y="0"/>
                    <a:pt x="1" y="1"/>
                  </a:cubicBezTo>
                  <a:cubicBezTo>
                    <a:pt x="0" y="1"/>
                    <a:pt x="0" y="4"/>
                    <a:pt x="0" y="8"/>
                  </a:cubicBezTo>
                  <a:cubicBezTo>
                    <a:pt x="0" y="11"/>
                    <a:pt x="0" y="14"/>
                    <a:pt x="1" y="13"/>
                  </a:cubicBezTo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75"/>
            <p:cNvSpPr>
              <a:spLocks/>
            </p:cNvSpPr>
            <p:nvPr/>
          </p:nvSpPr>
          <p:spPr bwMode="gray">
            <a:xfrm>
              <a:off x="2096458" y="2520170"/>
              <a:ext cx="21498" cy="36853"/>
            </a:xfrm>
            <a:custGeom>
              <a:avLst/>
              <a:gdLst>
                <a:gd name="T0" fmla="*/ 6 w 12"/>
                <a:gd name="T1" fmla="*/ 20 h 20"/>
                <a:gd name="T2" fmla="*/ 0 w 12"/>
                <a:gd name="T3" fmla="*/ 11 h 20"/>
                <a:gd name="T4" fmla="*/ 4 w 12"/>
                <a:gd name="T5" fmla="*/ 0 h 20"/>
                <a:gd name="T6" fmla="*/ 5 w 12"/>
                <a:gd name="T7" fmla="*/ 0 h 20"/>
                <a:gd name="T8" fmla="*/ 6 w 12"/>
                <a:gd name="T9" fmla="*/ 0 h 20"/>
                <a:gd name="T10" fmla="*/ 12 w 12"/>
                <a:gd name="T11" fmla="*/ 9 h 20"/>
                <a:gd name="T12" fmla="*/ 8 w 12"/>
                <a:gd name="T13" fmla="*/ 20 h 20"/>
                <a:gd name="T14" fmla="*/ 7 w 12"/>
                <a:gd name="T15" fmla="*/ 20 h 20"/>
                <a:gd name="T16" fmla="*/ 6 w 12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0">
                  <a:moveTo>
                    <a:pt x="6" y="20"/>
                  </a:moveTo>
                  <a:cubicBezTo>
                    <a:pt x="3" y="20"/>
                    <a:pt x="0" y="19"/>
                    <a:pt x="0" y="11"/>
                  </a:cubicBezTo>
                  <a:cubicBezTo>
                    <a:pt x="0" y="5"/>
                    <a:pt x="2" y="1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2" y="1"/>
                    <a:pt x="12" y="9"/>
                  </a:cubicBezTo>
                  <a:cubicBezTo>
                    <a:pt x="12" y="13"/>
                    <a:pt x="11" y="18"/>
                    <a:pt x="8" y="20"/>
                  </a:cubicBezTo>
                  <a:cubicBezTo>
                    <a:pt x="7" y="20"/>
                    <a:pt x="7" y="20"/>
                    <a:pt x="7" y="20"/>
                  </a:cubicBezTo>
                  <a:lnTo>
                    <a:pt x="6" y="20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Rectangle 76"/>
            <p:cNvSpPr>
              <a:spLocks noChangeArrowheads="1"/>
            </p:cNvSpPr>
            <p:nvPr/>
          </p:nvSpPr>
          <p:spPr bwMode="gray">
            <a:xfrm>
              <a:off x="2381304" y="2679868"/>
              <a:ext cx="143575" cy="11517"/>
            </a:xfrm>
            <a:prstGeom prst="rect">
              <a:avLst/>
            </a:prstGeom>
            <a:solidFill>
              <a:srgbClr val="006487"/>
            </a:solidFill>
            <a:ln w="12700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77"/>
            <p:cNvSpPr>
              <a:spLocks/>
            </p:cNvSpPr>
            <p:nvPr/>
          </p:nvSpPr>
          <p:spPr bwMode="gray">
            <a:xfrm>
              <a:off x="2492631" y="2652996"/>
              <a:ext cx="83688" cy="65261"/>
            </a:xfrm>
            <a:custGeom>
              <a:avLst/>
              <a:gdLst>
                <a:gd name="T0" fmla="*/ 0 w 109"/>
                <a:gd name="T1" fmla="*/ 85 h 85"/>
                <a:gd name="T2" fmla="*/ 109 w 109"/>
                <a:gd name="T3" fmla="*/ 43 h 85"/>
                <a:gd name="T4" fmla="*/ 0 w 109"/>
                <a:gd name="T5" fmla="*/ 0 h 85"/>
                <a:gd name="T6" fmla="*/ 0 w 109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85">
                  <a:moveTo>
                    <a:pt x="0" y="85"/>
                  </a:moveTo>
                  <a:lnTo>
                    <a:pt x="109" y="43"/>
                  </a:lnTo>
                  <a:lnTo>
                    <a:pt x="0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78"/>
            <p:cNvSpPr>
              <a:spLocks noEditPoints="1"/>
            </p:cNvSpPr>
            <p:nvPr/>
          </p:nvSpPr>
          <p:spPr bwMode="gray">
            <a:xfrm>
              <a:off x="2483418" y="2642247"/>
              <a:ext cx="114399" cy="89062"/>
            </a:xfrm>
            <a:custGeom>
              <a:avLst/>
              <a:gdLst>
                <a:gd name="T0" fmla="*/ 0 w 149"/>
                <a:gd name="T1" fmla="*/ 116 h 116"/>
                <a:gd name="T2" fmla="*/ 0 w 149"/>
                <a:gd name="T3" fmla="*/ 0 h 116"/>
                <a:gd name="T4" fmla="*/ 149 w 149"/>
                <a:gd name="T5" fmla="*/ 57 h 116"/>
                <a:gd name="T6" fmla="*/ 0 w 149"/>
                <a:gd name="T7" fmla="*/ 116 h 116"/>
                <a:gd name="T8" fmla="*/ 21 w 149"/>
                <a:gd name="T9" fmla="*/ 28 h 116"/>
                <a:gd name="T10" fmla="*/ 21 w 149"/>
                <a:gd name="T11" fmla="*/ 85 h 116"/>
                <a:gd name="T12" fmla="*/ 92 w 149"/>
                <a:gd name="T13" fmla="*/ 57 h 116"/>
                <a:gd name="T14" fmla="*/ 21 w 149"/>
                <a:gd name="T15" fmla="*/ 2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9" h="116">
                  <a:moveTo>
                    <a:pt x="0" y="116"/>
                  </a:moveTo>
                  <a:lnTo>
                    <a:pt x="0" y="0"/>
                  </a:lnTo>
                  <a:lnTo>
                    <a:pt x="149" y="57"/>
                  </a:lnTo>
                  <a:lnTo>
                    <a:pt x="0" y="116"/>
                  </a:lnTo>
                  <a:close/>
                  <a:moveTo>
                    <a:pt x="21" y="28"/>
                  </a:moveTo>
                  <a:lnTo>
                    <a:pt x="21" y="85"/>
                  </a:lnTo>
                  <a:lnTo>
                    <a:pt x="92" y="57"/>
                  </a:lnTo>
                  <a:lnTo>
                    <a:pt x="21" y="28"/>
                  </a:lnTo>
                  <a:close/>
                </a:path>
              </a:pathLst>
            </a:custGeom>
            <a:solidFill>
              <a:srgbClr val="006487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" name="Group 177"/>
          <p:cNvGrpSpPr>
            <a:grpSpLocks noChangeAspect="1"/>
          </p:cNvGrpSpPr>
          <p:nvPr/>
        </p:nvGrpSpPr>
        <p:grpSpPr bwMode="gray">
          <a:xfrm>
            <a:off x="3551438" y="2155742"/>
            <a:ext cx="748350" cy="874498"/>
            <a:chOff x="7580313" y="-3175"/>
            <a:chExt cx="1808163" cy="2112963"/>
          </a:xfrm>
          <a:solidFill>
            <a:srgbClr val="41AAC8"/>
          </a:solidFill>
        </p:grpSpPr>
        <p:sp>
          <p:nvSpPr>
            <p:cNvPr id="299" name="Freeform 505"/>
            <p:cNvSpPr>
              <a:spLocks noEditPoints="1"/>
            </p:cNvSpPr>
            <p:nvPr/>
          </p:nvSpPr>
          <p:spPr bwMode="gray">
            <a:xfrm>
              <a:off x="8040688" y="814388"/>
              <a:ext cx="379413" cy="765175"/>
            </a:xfrm>
            <a:custGeom>
              <a:avLst/>
              <a:gdLst>
                <a:gd name="T0" fmla="*/ 64 w 101"/>
                <a:gd name="T1" fmla="*/ 0 h 204"/>
                <a:gd name="T2" fmla="*/ 17 w 101"/>
                <a:gd name="T3" fmla="*/ 31 h 204"/>
                <a:gd name="T4" fmla="*/ 10 w 101"/>
                <a:gd name="T5" fmla="*/ 106 h 204"/>
                <a:gd name="T6" fmla="*/ 24 w 101"/>
                <a:gd name="T7" fmla="*/ 144 h 204"/>
                <a:gd name="T8" fmla="*/ 30 w 101"/>
                <a:gd name="T9" fmla="*/ 145 h 204"/>
                <a:gd name="T10" fmla="*/ 32 w 101"/>
                <a:gd name="T11" fmla="*/ 145 h 204"/>
                <a:gd name="T12" fmla="*/ 37 w 101"/>
                <a:gd name="T13" fmla="*/ 143 h 204"/>
                <a:gd name="T14" fmla="*/ 41 w 101"/>
                <a:gd name="T15" fmla="*/ 142 h 204"/>
                <a:gd name="T16" fmla="*/ 48 w 101"/>
                <a:gd name="T17" fmla="*/ 139 h 204"/>
                <a:gd name="T18" fmla="*/ 52 w 101"/>
                <a:gd name="T19" fmla="*/ 137 h 204"/>
                <a:gd name="T20" fmla="*/ 43 w 101"/>
                <a:gd name="T21" fmla="*/ 142 h 204"/>
                <a:gd name="T22" fmla="*/ 23 w 101"/>
                <a:gd name="T23" fmla="*/ 149 h 204"/>
                <a:gd name="T24" fmla="*/ 31 w 101"/>
                <a:gd name="T25" fmla="*/ 181 h 204"/>
                <a:gd name="T26" fmla="*/ 31 w 101"/>
                <a:gd name="T27" fmla="*/ 194 h 204"/>
                <a:gd name="T28" fmla="*/ 39 w 101"/>
                <a:gd name="T29" fmla="*/ 203 h 204"/>
                <a:gd name="T30" fmla="*/ 52 w 101"/>
                <a:gd name="T31" fmla="*/ 202 h 204"/>
                <a:gd name="T32" fmla="*/ 61 w 101"/>
                <a:gd name="T33" fmla="*/ 190 h 204"/>
                <a:gd name="T34" fmla="*/ 70 w 101"/>
                <a:gd name="T35" fmla="*/ 171 h 204"/>
                <a:gd name="T36" fmla="*/ 70 w 101"/>
                <a:gd name="T37" fmla="*/ 159 h 204"/>
                <a:gd name="T38" fmla="*/ 74 w 101"/>
                <a:gd name="T39" fmla="*/ 128 h 204"/>
                <a:gd name="T40" fmla="*/ 75 w 101"/>
                <a:gd name="T41" fmla="*/ 117 h 204"/>
                <a:gd name="T42" fmla="*/ 76 w 101"/>
                <a:gd name="T43" fmla="*/ 108 h 204"/>
                <a:gd name="T44" fmla="*/ 77 w 101"/>
                <a:gd name="T45" fmla="*/ 101 h 204"/>
                <a:gd name="T46" fmla="*/ 81 w 101"/>
                <a:gd name="T47" fmla="*/ 5 h 204"/>
                <a:gd name="T48" fmla="*/ 74 w 101"/>
                <a:gd name="T49" fmla="*/ 9 h 204"/>
                <a:gd name="T50" fmla="*/ 70 w 101"/>
                <a:gd name="T51" fmla="*/ 100 h 204"/>
                <a:gd name="T52" fmla="*/ 64 w 101"/>
                <a:gd name="T53" fmla="*/ 68 h 204"/>
                <a:gd name="T54" fmla="*/ 52 w 101"/>
                <a:gd name="T55" fmla="*/ 65 h 204"/>
                <a:gd name="T56" fmla="*/ 47 w 101"/>
                <a:gd name="T57" fmla="*/ 67 h 204"/>
                <a:gd name="T58" fmla="*/ 44 w 101"/>
                <a:gd name="T59" fmla="*/ 68 h 204"/>
                <a:gd name="T60" fmla="*/ 41 w 101"/>
                <a:gd name="T61" fmla="*/ 70 h 204"/>
                <a:gd name="T62" fmla="*/ 31 w 101"/>
                <a:gd name="T63" fmla="*/ 83 h 204"/>
                <a:gd name="T64" fmla="*/ 27 w 101"/>
                <a:gd name="T65" fmla="*/ 123 h 204"/>
                <a:gd name="T66" fmla="*/ 49 w 101"/>
                <a:gd name="T67" fmla="*/ 10 h 204"/>
                <a:gd name="T68" fmla="*/ 43 w 101"/>
                <a:gd name="T69" fmla="*/ 95 h 204"/>
                <a:gd name="T70" fmla="*/ 47 w 101"/>
                <a:gd name="T71" fmla="*/ 92 h 204"/>
                <a:gd name="T72" fmla="*/ 52 w 101"/>
                <a:gd name="T73" fmla="*/ 90 h 204"/>
                <a:gd name="T74" fmla="*/ 55 w 101"/>
                <a:gd name="T75" fmla="*/ 89 h 204"/>
                <a:gd name="T76" fmla="*/ 40 w 101"/>
                <a:gd name="T77" fmla="*/ 95 h 204"/>
                <a:gd name="T78" fmla="*/ 53 w 101"/>
                <a:gd name="T79" fmla="*/ 85 h 204"/>
                <a:gd name="T80" fmla="*/ 52 w 101"/>
                <a:gd name="T81" fmla="*/ 86 h 204"/>
                <a:gd name="T82" fmla="*/ 48 w 101"/>
                <a:gd name="T83" fmla="*/ 88 h 204"/>
                <a:gd name="T84" fmla="*/ 46 w 101"/>
                <a:gd name="T85" fmla="*/ 88 h 204"/>
                <a:gd name="T86" fmla="*/ 43 w 101"/>
                <a:gd name="T87" fmla="*/ 91 h 204"/>
                <a:gd name="T88" fmla="*/ 39 w 101"/>
                <a:gd name="T89" fmla="*/ 89 h 204"/>
                <a:gd name="T90" fmla="*/ 38 w 101"/>
                <a:gd name="T91" fmla="*/ 83 h 204"/>
                <a:gd name="T92" fmla="*/ 42 w 101"/>
                <a:gd name="T93" fmla="*/ 74 h 204"/>
                <a:gd name="T94" fmla="*/ 45 w 101"/>
                <a:gd name="T95" fmla="*/ 73 h 204"/>
                <a:gd name="T96" fmla="*/ 47 w 101"/>
                <a:gd name="T97" fmla="*/ 71 h 204"/>
                <a:gd name="T98" fmla="*/ 50 w 101"/>
                <a:gd name="T99" fmla="*/ 71 h 204"/>
                <a:gd name="T100" fmla="*/ 52 w 101"/>
                <a:gd name="T101" fmla="*/ 69 h 204"/>
                <a:gd name="T102" fmla="*/ 59 w 101"/>
                <a:gd name="T103" fmla="*/ 74 h 204"/>
                <a:gd name="T104" fmla="*/ 60 w 101"/>
                <a:gd name="T105" fmla="*/ 153 h 204"/>
                <a:gd name="T106" fmla="*/ 60 w 101"/>
                <a:gd name="T107" fmla="*/ 163 h 204"/>
                <a:gd name="T108" fmla="*/ 60 w 101"/>
                <a:gd name="T109" fmla="*/ 173 h 204"/>
                <a:gd name="T110" fmla="*/ 53 w 101"/>
                <a:gd name="T111" fmla="*/ 188 h 204"/>
                <a:gd name="T112" fmla="*/ 45 w 101"/>
                <a:gd name="T113" fmla="*/ 197 h 204"/>
                <a:gd name="T114" fmla="*/ 38 w 101"/>
                <a:gd name="T115" fmla="*/ 185 h 204"/>
                <a:gd name="T116" fmla="*/ 38 w 101"/>
                <a:gd name="T117" fmla="*/ 175 h 204"/>
                <a:gd name="T118" fmla="*/ 38 w 101"/>
                <a:gd name="T119" fmla="*/ 166 h 204"/>
                <a:gd name="T120" fmla="*/ 50 w 101"/>
                <a:gd name="T121" fmla="*/ 14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1" h="204">
                  <a:moveTo>
                    <a:pt x="81" y="5"/>
                  </a:moveTo>
                  <a:cubicBezTo>
                    <a:pt x="80" y="4"/>
                    <a:pt x="79" y="3"/>
                    <a:pt x="78" y="3"/>
                  </a:cubicBezTo>
                  <a:cubicBezTo>
                    <a:pt x="77" y="2"/>
                    <a:pt x="72" y="0"/>
                    <a:pt x="64" y="0"/>
                  </a:cubicBezTo>
                  <a:cubicBezTo>
                    <a:pt x="59" y="0"/>
                    <a:pt x="53" y="1"/>
                    <a:pt x="46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25" y="14"/>
                    <a:pt x="17" y="31"/>
                    <a:pt x="17" y="31"/>
                  </a:cubicBezTo>
                  <a:cubicBezTo>
                    <a:pt x="6" y="47"/>
                    <a:pt x="3" y="62"/>
                    <a:pt x="3" y="75"/>
                  </a:cubicBezTo>
                  <a:cubicBezTo>
                    <a:pt x="3" y="92"/>
                    <a:pt x="9" y="105"/>
                    <a:pt x="10" y="106"/>
                  </a:cubicBezTo>
                  <a:cubicBezTo>
                    <a:pt x="10" y="106"/>
                    <a:pt x="10" y="106"/>
                    <a:pt x="10" y="106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5" y="111"/>
                    <a:pt x="18" y="118"/>
                    <a:pt x="20" y="124"/>
                  </a:cubicBezTo>
                  <a:cubicBezTo>
                    <a:pt x="21" y="132"/>
                    <a:pt x="22" y="138"/>
                    <a:pt x="24" y="144"/>
                  </a:cubicBezTo>
                  <a:cubicBezTo>
                    <a:pt x="25" y="146"/>
                    <a:pt x="25" y="146"/>
                    <a:pt x="25" y="146"/>
                  </a:cubicBezTo>
                  <a:cubicBezTo>
                    <a:pt x="28" y="146"/>
                    <a:pt x="28" y="146"/>
                    <a:pt x="28" y="146"/>
                  </a:cubicBezTo>
                  <a:cubicBezTo>
                    <a:pt x="29" y="146"/>
                    <a:pt x="29" y="145"/>
                    <a:pt x="30" y="145"/>
                  </a:cubicBezTo>
                  <a:cubicBezTo>
                    <a:pt x="30" y="145"/>
                    <a:pt x="30" y="145"/>
                    <a:pt x="30" y="145"/>
                  </a:cubicBezTo>
                  <a:cubicBezTo>
                    <a:pt x="31" y="145"/>
                    <a:pt x="31" y="145"/>
                    <a:pt x="32" y="145"/>
                  </a:cubicBezTo>
                  <a:cubicBezTo>
                    <a:pt x="32" y="145"/>
                    <a:pt x="32" y="145"/>
                    <a:pt x="32" y="145"/>
                  </a:cubicBezTo>
                  <a:cubicBezTo>
                    <a:pt x="33" y="145"/>
                    <a:pt x="34" y="144"/>
                    <a:pt x="34" y="144"/>
                  </a:cubicBezTo>
                  <a:cubicBezTo>
                    <a:pt x="34" y="144"/>
                    <a:pt x="35" y="144"/>
                    <a:pt x="35" y="144"/>
                  </a:cubicBezTo>
                  <a:cubicBezTo>
                    <a:pt x="36" y="144"/>
                    <a:pt x="37" y="144"/>
                    <a:pt x="37" y="143"/>
                  </a:cubicBezTo>
                  <a:cubicBezTo>
                    <a:pt x="38" y="143"/>
                    <a:pt x="38" y="143"/>
                    <a:pt x="38" y="143"/>
                  </a:cubicBezTo>
                  <a:cubicBezTo>
                    <a:pt x="39" y="143"/>
                    <a:pt x="40" y="143"/>
                    <a:pt x="40" y="142"/>
                  </a:cubicBezTo>
                  <a:cubicBezTo>
                    <a:pt x="41" y="142"/>
                    <a:pt x="41" y="142"/>
                    <a:pt x="41" y="142"/>
                  </a:cubicBezTo>
                  <a:cubicBezTo>
                    <a:pt x="42" y="142"/>
                    <a:pt x="43" y="141"/>
                    <a:pt x="44" y="141"/>
                  </a:cubicBezTo>
                  <a:cubicBezTo>
                    <a:pt x="44" y="141"/>
                    <a:pt x="44" y="141"/>
                    <a:pt x="45" y="141"/>
                  </a:cubicBezTo>
                  <a:cubicBezTo>
                    <a:pt x="46" y="140"/>
                    <a:pt x="47" y="140"/>
                    <a:pt x="48" y="139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9" y="139"/>
                    <a:pt x="50" y="138"/>
                    <a:pt x="52" y="137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2" y="137"/>
                    <a:pt x="52" y="137"/>
                    <a:pt x="52" y="137"/>
                  </a:cubicBezTo>
                  <a:cubicBezTo>
                    <a:pt x="50" y="138"/>
                    <a:pt x="49" y="139"/>
                    <a:pt x="47" y="140"/>
                  </a:cubicBezTo>
                  <a:cubicBezTo>
                    <a:pt x="46" y="140"/>
                    <a:pt x="44" y="141"/>
                    <a:pt x="43" y="142"/>
                  </a:cubicBezTo>
                  <a:cubicBezTo>
                    <a:pt x="33" y="146"/>
                    <a:pt x="26" y="146"/>
                    <a:pt x="26" y="146"/>
                  </a:cubicBezTo>
                  <a:cubicBezTo>
                    <a:pt x="23" y="146"/>
                    <a:pt x="23" y="146"/>
                    <a:pt x="23" y="146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2" y="163"/>
                    <a:pt x="28" y="169"/>
                    <a:pt x="31" y="171"/>
                  </a:cubicBezTo>
                  <a:cubicBezTo>
                    <a:pt x="29" y="173"/>
                    <a:pt x="28" y="175"/>
                    <a:pt x="28" y="177"/>
                  </a:cubicBezTo>
                  <a:cubicBezTo>
                    <a:pt x="28" y="179"/>
                    <a:pt x="29" y="181"/>
                    <a:pt x="31" y="181"/>
                  </a:cubicBezTo>
                  <a:cubicBezTo>
                    <a:pt x="29" y="183"/>
                    <a:pt x="29" y="185"/>
                    <a:pt x="29" y="187"/>
                  </a:cubicBezTo>
                  <a:cubicBezTo>
                    <a:pt x="29" y="189"/>
                    <a:pt x="30" y="191"/>
                    <a:pt x="31" y="192"/>
                  </a:cubicBezTo>
                  <a:cubicBezTo>
                    <a:pt x="31" y="194"/>
                    <a:pt x="31" y="194"/>
                    <a:pt x="31" y="194"/>
                  </a:cubicBezTo>
                  <a:cubicBezTo>
                    <a:pt x="38" y="199"/>
                    <a:pt x="38" y="199"/>
                    <a:pt x="38" y="199"/>
                  </a:cubicBezTo>
                  <a:cubicBezTo>
                    <a:pt x="38" y="202"/>
                    <a:pt x="38" y="202"/>
                    <a:pt x="38" y="202"/>
                  </a:cubicBezTo>
                  <a:cubicBezTo>
                    <a:pt x="39" y="203"/>
                    <a:pt x="39" y="203"/>
                    <a:pt x="39" y="203"/>
                  </a:cubicBezTo>
                  <a:cubicBezTo>
                    <a:pt x="40" y="204"/>
                    <a:pt x="41" y="204"/>
                    <a:pt x="42" y="204"/>
                  </a:cubicBezTo>
                  <a:cubicBezTo>
                    <a:pt x="45" y="204"/>
                    <a:pt x="50" y="203"/>
                    <a:pt x="51" y="202"/>
                  </a:cubicBezTo>
                  <a:cubicBezTo>
                    <a:pt x="51" y="202"/>
                    <a:pt x="51" y="202"/>
                    <a:pt x="52" y="202"/>
                  </a:cubicBezTo>
                  <a:cubicBezTo>
                    <a:pt x="54" y="200"/>
                    <a:pt x="58" y="198"/>
                    <a:pt x="60" y="195"/>
                  </a:cubicBezTo>
                  <a:cubicBezTo>
                    <a:pt x="61" y="194"/>
                    <a:pt x="61" y="194"/>
                    <a:pt x="61" y="194"/>
                  </a:cubicBezTo>
                  <a:cubicBezTo>
                    <a:pt x="61" y="190"/>
                    <a:pt x="61" y="190"/>
                    <a:pt x="61" y="190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177"/>
                    <a:pt x="67" y="177"/>
                    <a:pt x="67" y="177"/>
                  </a:cubicBezTo>
                  <a:cubicBezTo>
                    <a:pt x="68" y="176"/>
                    <a:pt x="70" y="173"/>
                    <a:pt x="70" y="171"/>
                  </a:cubicBezTo>
                  <a:cubicBezTo>
                    <a:pt x="70" y="169"/>
                    <a:pt x="69" y="167"/>
                    <a:pt x="67" y="166"/>
                  </a:cubicBezTo>
                  <a:cubicBezTo>
                    <a:pt x="69" y="165"/>
                    <a:pt x="70" y="163"/>
                    <a:pt x="70" y="161"/>
                  </a:cubicBezTo>
                  <a:cubicBezTo>
                    <a:pt x="70" y="160"/>
                    <a:pt x="70" y="160"/>
                    <a:pt x="70" y="159"/>
                  </a:cubicBezTo>
                  <a:cubicBezTo>
                    <a:pt x="69" y="158"/>
                    <a:pt x="68" y="157"/>
                    <a:pt x="67" y="156"/>
                  </a:cubicBezTo>
                  <a:cubicBezTo>
                    <a:pt x="69" y="154"/>
                    <a:pt x="72" y="148"/>
                    <a:pt x="73" y="142"/>
                  </a:cubicBezTo>
                  <a:cubicBezTo>
                    <a:pt x="74" y="138"/>
                    <a:pt x="75" y="133"/>
                    <a:pt x="74" y="128"/>
                  </a:cubicBezTo>
                  <a:cubicBezTo>
                    <a:pt x="73" y="122"/>
                    <a:pt x="73" y="122"/>
                    <a:pt x="73" y="122"/>
                  </a:cubicBezTo>
                  <a:cubicBezTo>
                    <a:pt x="74" y="121"/>
                    <a:pt x="74" y="120"/>
                    <a:pt x="74" y="119"/>
                  </a:cubicBezTo>
                  <a:cubicBezTo>
                    <a:pt x="74" y="118"/>
                    <a:pt x="75" y="118"/>
                    <a:pt x="75" y="117"/>
                  </a:cubicBezTo>
                  <a:cubicBezTo>
                    <a:pt x="75" y="116"/>
                    <a:pt x="75" y="115"/>
                    <a:pt x="75" y="114"/>
                  </a:cubicBezTo>
                  <a:cubicBezTo>
                    <a:pt x="75" y="113"/>
                    <a:pt x="76" y="112"/>
                    <a:pt x="76" y="112"/>
                  </a:cubicBezTo>
                  <a:cubicBezTo>
                    <a:pt x="76" y="110"/>
                    <a:pt x="76" y="109"/>
                    <a:pt x="76" y="108"/>
                  </a:cubicBezTo>
                  <a:cubicBezTo>
                    <a:pt x="76" y="107"/>
                    <a:pt x="76" y="107"/>
                    <a:pt x="76" y="106"/>
                  </a:cubicBezTo>
                  <a:cubicBezTo>
                    <a:pt x="77" y="104"/>
                    <a:pt x="77" y="103"/>
                    <a:pt x="77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101"/>
                    <a:pt x="80" y="85"/>
                    <a:pt x="87" y="72"/>
                  </a:cubicBezTo>
                  <a:cubicBezTo>
                    <a:pt x="87" y="72"/>
                    <a:pt x="87" y="71"/>
                    <a:pt x="88" y="69"/>
                  </a:cubicBezTo>
                  <a:cubicBezTo>
                    <a:pt x="91" y="58"/>
                    <a:pt x="101" y="19"/>
                    <a:pt x="81" y="5"/>
                  </a:cubicBezTo>
                  <a:close/>
                  <a:moveTo>
                    <a:pt x="49" y="10"/>
                  </a:moveTo>
                  <a:cubicBezTo>
                    <a:pt x="54" y="8"/>
                    <a:pt x="60" y="7"/>
                    <a:pt x="64" y="7"/>
                  </a:cubicBezTo>
                  <a:cubicBezTo>
                    <a:pt x="70" y="7"/>
                    <a:pt x="73" y="8"/>
                    <a:pt x="74" y="9"/>
                  </a:cubicBezTo>
                  <a:cubicBezTo>
                    <a:pt x="97" y="20"/>
                    <a:pt x="81" y="67"/>
                    <a:pt x="80" y="69"/>
                  </a:cubicBezTo>
                  <a:cubicBezTo>
                    <a:pt x="74" y="81"/>
                    <a:pt x="71" y="95"/>
                    <a:pt x="70" y="99"/>
                  </a:cubicBezTo>
                  <a:cubicBezTo>
                    <a:pt x="70" y="100"/>
                    <a:pt x="70" y="100"/>
                    <a:pt x="70" y="100"/>
                  </a:cubicBezTo>
                  <a:cubicBezTo>
                    <a:pt x="69" y="107"/>
                    <a:pt x="68" y="113"/>
                    <a:pt x="67" y="120"/>
                  </a:cubicBezTo>
                  <a:cubicBezTo>
                    <a:pt x="64" y="122"/>
                    <a:pt x="61" y="124"/>
                    <a:pt x="58" y="126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7" y="65"/>
                    <a:pt x="54" y="65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9" y="66"/>
                    <a:pt x="48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3" y="68"/>
                    <a:pt x="43" y="69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6" y="72"/>
                    <a:pt x="34" y="76"/>
                    <a:pt x="34" y="82"/>
                  </a:cubicBezTo>
                  <a:cubicBezTo>
                    <a:pt x="31" y="83"/>
                    <a:pt x="31" y="83"/>
                    <a:pt x="31" y="83"/>
                  </a:cubicBezTo>
                  <a:cubicBezTo>
                    <a:pt x="38" y="136"/>
                    <a:pt x="38" y="136"/>
                    <a:pt x="38" y="136"/>
                  </a:cubicBezTo>
                  <a:cubicBezTo>
                    <a:pt x="34" y="137"/>
                    <a:pt x="32" y="138"/>
                    <a:pt x="30" y="138"/>
                  </a:cubicBezTo>
                  <a:cubicBezTo>
                    <a:pt x="28" y="134"/>
                    <a:pt x="27" y="129"/>
                    <a:pt x="27" y="123"/>
                  </a:cubicBezTo>
                  <a:cubicBezTo>
                    <a:pt x="27" y="122"/>
                    <a:pt x="23" y="109"/>
                    <a:pt x="16" y="102"/>
                  </a:cubicBezTo>
                  <a:cubicBezTo>
                    <a:pt x="14" y="97"/>
                    <a:pt x="0" y="68"/>
                    <a:pt x="23" y="34"/>
                  </a:cubicBezTo>
                  <a:cubicBezTo>
                    <a:pt x="23" y="34"/>
                    <a:pt x="31" y="19"/>
                    <a:pt x="49" y="10"/>
                  </a:cubicBezTo>
                  <a:close/>
                  <a:moveTo>
                    <a:pt x="42" y="95"/>
                  </a:moveTo>
                  <a:cubicBezTo>
                    <a:pt x="42" y="95"/>
                    <a:pt x="42" y="95"/>
                    <a:pt x="42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45" y="94"/>
                    <a:pt x="46" y="93"/>
                    <a:pt x="47" y="92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50" y="92"/>
                    <a:pt x="50" y="92"/>
                    <a:pt x="50" y="92"/>
                  </a:cubicBezTo>
                  <a:cubicBezTo>
                    <a:pt x="51" y="91"/>
                    <a:pt x="51" y="91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1" y="130"/>
                    <a:pt x="51" y="130"/>
                    <a:pt x="51" y="130"/>
                  </a:cubicBezTo>
                  <a:cubicBezTo>
                    <a:pt x="49" y="131"/>
                    <a:pt x="47" y="132"/>
                    <a:pt x="44" y="133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40" y="95"/>
                    <a:pt x="41" y="95"/>
                    <a:pt x="42" y="95"/>
                  </a:cubicBezTo>
                  <a:close/>
                  <a:moveTo>
                    <a:pt x="55" y="83"/>
                  </a:moveTo>
                  <a:cubicBezTo>
                    <a:pt x="55" y="84"/>
                    <a:pt x="54" y="85"/>
                    <a:pt x="53" y="85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6" y="88"/>
                    <a:pt x="46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4" y="89"/>
                    <a:pt x="44" y="89"/>
                    <a:pt x="44" y="89"/>
                  </a:cubicBezTo>
                  <a:cubicBezTo>
                    <a:pt x="44" y="90"/>
                    <a:pt x="43" y="90"/>
                    <a:pt x="43" y="91"/>
                  </a:cubicBezTo>
                  <a:cubicBezTo>
                    <a:pt x="42" y="91"/>
                    <a:pt x="42" y="91"/>
                    <a:pt x="42" y="91"/>
                  </a:cubicBezTo>
                  <a:cubicBezTo>
                    <a:pt x="42" y="91"/>
                    <a:pt x="42" y="91"/>
                    <a:pt x="42" y="91"/>
                  </a:cubicBezTo>
                  <a:cubicBezTo>
                    <a:pt x="41" y="91"/>
                    <a:pt x="40" y="90"/>
                    <a:pt x="39" y="89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38" y="84"/>
                    <a:pt x="38" y="84"/>
                    <a:pt x="38" y="84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38" y="78"/>
                    <a:pt x="39" y="75"/>
                    <a:pt x="41" y="74"/>
                  </a:cubicBezTo>
                  <a:cubicBezTo>
                    <a:pt x="41" y="74"/>
                    <a:pt x="41" y="74"/>
                    <a:pt x="41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3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2"/>
                    <a:pt x="46" y="72"/>
                    <a:pt x="46" y="72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8" y="71"/>
                    <a:pt x="48" y="71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0"/>
                    <a:pt x="51" y="69"/>
                    <a:pt x="51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3" y="69"/>
                    <a:pt x="55" y="69"/>
                    <a:pt x="56" y="73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9" y="74"/>
                    <a:pt x="59" y="74"/>
                    <a:pt x="59" y="74"/>
                  </a:cubicBezTo>
                  <a:lnTo>
                    <a:pt x="55" y="83"/>
                  </a:lnTo>
                  <a:close/>
                  <a:moveTo>
                    <a:pt x="61" y="153"/>
                  </a:moveTo>
                  <a:cubicBezTo>
                    <a:pt x="60" y="153"/>
                    <a:pt x="60" y="153"/>
                    <a:pt x="60" y="153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3"/>
                    <a:pt x="60" y="163"/>
                    <a:pt x="60" y="163"/>
                  </a:cubicBezTo>
                  <a:cubicBezTo>
                    <a:pt x="60" y="164"/>
                    <a:pt x="60" y="164"/>
                    <a:pt x="60" y="164"/>
                  </a:cubicBezTo>
                  <a:cubicBezTo>
                    <a:pt x="60" y="173"/>
                    <a:pt x="60" y="173"/>
                    <a:pt x="60" y="173"/>
                  </a:cubicBezTo>
                  <a:cubicBezTo>
                    <a:pt x="60" y="173"/>
                    <a:pt x="60" y="173"/>
                    <a:pt x="60" y="173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60" y="178"/>
                    <a:pt x="60" y="178"/>
                    <a:pt x="60" y="178"/>
                  </a:cubicBezTo>
                  <a:cubicBezTo>
                    <a:pt x="53" y="188"/>
                    <a:pt x="53" y="188"/>
                    <a:pt x="53" y="188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2" y="193"/>
                    <a:pt x="50" y="195"/>
                    <a:pt x="48" y="196"/>
                  </a:cubicBezTo>
                  <a:cubicBezTo>
                    <a:pt x="47" y="196"/>
                    <a:pt x="46" y="196"/>
                    <a:pt x="45" y="197"/>
                  </a:cubicBezTo>
                  <a:cubicBezTo>
                    <a:pt x="45" y="195"/>
                    <a:pt x="45" y="195"/>
                    <a:pt x="45" y="195"/>
                  </a:cubicBezTo>
                  <a:cubicBezTo>
                    <a:pt x="38" y="190"/>
                    <a:pt x="38" y="190"/>
                    <a:pt x="38" y="190"/>
                  </a:cubicBezTo>
                  <a:cubicBezTo>
                    <a:pt x="38" y="185"/>
                    <a:pt x="38" y="185"/>
                    <a:pt x="38" y="185"/>
                  </a:cubicBezTo>
                  <a:cubicBezTo>
                    <a:pt x="38" y="185"/>
                    <a:pt x="38" y="185"/>
                    <a:pt x="38" y="185"/>
                  </a:cubicBezTo>
                  <a:cubicBezTo>
                    <a:pt x="38" y="184"/>
                    <a:pt x="38" y="184"/>
                    <a:pt x="38" y="184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38" y="166"/>
                    <a:pt x="38" y="166"/>
                    <a:pt x="38" y="166"/>
                  </a:cubicBezTo>
                  <a:cubicBezTo>
                    <a:pt x="36" y="166"/>
                    <a:pt x="36" y="166"/>
                    <a:pt x="36" y="166"/>
                  </a:cubicBezTo>
                  <a:cubicBezTo>
                    <a:pt x="36" y="166"/>
                    <a:pt x="30" y="163"/>
                    <a:pt x="30" y="153"/>
                  </a:cubicBezTo>
                  <a:cubicBezTo>
                    <a:pt x="34" y="152"/>
                    <a:pt x="41" y="150"/>
                    <a:pt x="50" y="146"/>
                  </a:cubicBezTo>
                  <a:cubicBezTo>
                    <a:pt x="57" y="143"/>
                    <a:pt x="63" y="139"/>
                    <a:pt x="67" y="136"/>
                  </a:cubicBezTo>
                  <a:cubicBezTo>
                    <a:pt x="66" y="144"/>
                    <a:pt x="62" y="151"/>
                    <a:pt x="61" y="153"/>
                  </a:cubicBez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506"/>
            <p:cNvSpPr>
              <a:spLocks/>
            </p:cNvSpPr>
            <p:nvPr/>
          </p:nvSpPr>
          <p:spPr bwMode="gray">
            <a:xfrm>
              <a:off x="7594601" y="55563"/>
              <a:ext cx="1779588" cy="2038350"/>
            </a:xfrm>
            <a:custGeom>
              <a:avLst/>
              <a:gdLst>
                <a:gd name="T0" fmla="*/ 1121 w 1121"/>
                <a:gd name="T1" fmla="*/ 0 h 1284"/>
                <a:gd name="T2" fmla="*/ 1121 w 1121"/>
                <a:gd name="T3" fmla="*/ 5 h 1284"/>
                <a:gd name="T4" fmla="*/ 1102 w 1121"/>
                <a:gd name="T5" fmla="*/ 819 h 1284"/>
                <a:gd name="T6" fmla="*/ 66 w 1121"/>
                <a:gd name="T7" fmla="*/ 1282 h 1284"/>
                <a:gd name="T8" fmla="*/ 66 w 1121"/>
                <a:gd name="T9" fmla="*/ 1282 h 1284"/>
                <a:gd name="T10" fmla="*/ 66 w 1121"/>
                <a:gd name="T11" fmla="*/ 1282 h 1284"/>
                <a:gd name="T12" fmla="*/ 64 w 1121"/>
                <a:gd name="T13" fmla="*/ 1282 h 1284"/>
                <a:gd name="T14" fmla="*/ 64 w 1121"/>
                <a:gd name="T15" fmla="*/ 1282 h 1284"/>
                <a:gd name="T16" fmla="*/ 7 w 1121"/>
                <a:gd name="T17" fmla="*/ 1247 h 1284"/>
                <a:gd name="T18" fmla="*/ 7 w 1121"/>
                <a:gd name="T19" fmla="*/ 1244 h 1284"/>
                <a:gd name="T20" fmla="*/ 2 w 1121"/>
                <a:gd name="T21" fmla="*/ 367 h 1284"/>
                <a:gd name="T22" fmla="*/ 0 w 1121"/>
                <a:gd name="T23" fmla="*/ 365 h 1284"/>
                <a:gd name="T24" fmla="*/ 7 w 1121"/>
                <a:gd name="T25" fmla="*/ 1247 h 1284"/>
                <a:gd name="T26" fmla="*/ 66 w 1121"/>
                <a:gd name="T27" fmla="*/ 1284 h 1284"/>
                <a:gd name="T28" fmla="*/ 1104 w 1121"/>
                <a:gd name="T29" fmla="*/ 821 h 1284"/>
                <a:gd name="T30" fmla="*/ 1121 w 1121"/>
                <a:gd name="T31" fmla="*/ 0 h 1284"/>
                <a:gd name="T32" fmla="*/ 1121 w 1121"/>
                <a:gd name="T33" fmla="*/ 0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1" h="1284">
                  <a:moveTo>
                    <a:pt x="1121" y="0"/>
                  </a:moveTo>
                  <a:lnTo>
                    <a:pt x="1121" y="5"/>
                  </a:lnTo>
                  <a:lnTo>
                    <a:pt x="1102" y="819"/>
                  </a:lnTo>
                  <a:lnTo>
                    <a:pt x="66" y="1282"/>
                  </a:lnTo>
                  <a:lnTo>
                    <a:pt x="66" y="1282"/>
                  </a:lnTo>
                  <a:lnTo>
                    <a:pt x="66" y="1282"/>
                  </a:lnTo>
                  <a:lnTo>
                    <a:pt x="64" y="1282"/>
                  </a:lnTo>
                  <a:lnTo>
                    <a:pt x="64" y="1282"/>
                  </a:lnTo>
                  <a:lnTo>
                    <a:pt x="7" y="1247"/>
                  </a:lnTo>
                  <a:lnTo>
                    <a:pt x="7" y="1244"/>
                  </a:lnTo>
                  <a:lnTo>
                    <a:pt x="2" y="367"/>
                  </a:lnTo>
                  <a:lnTo>
                    <a:pt x="0" y="365"/>
                  </a:lnTo>
                  <a:lnTo>
                    <a:pt x="7" y="1247"/>
                  </a:lnTo>
                  <a:lnTo>
                    <a:pt x="66" y="1284"/>
                  </a:lnTo>
                  <a:lnTo>
                    <a:pt x="1104" y="821"/>
                  </a:lnTo>
                  <a:lnTo>
                    <a:pt x="1121" y="0"/>
                  </a:lnTo>
                  <a:lnTo>
                    <a:pt x="1121" y="0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507"/>
            <p:cNvSpPr>
              <a:spLocks/>
            </p:cNvSpPr>
            <p:nvPr/>
          </p:nvSpPr>
          <p:spPr bwMode="gray">
            <a:xfrm>
              <a:off x="7594601" y="11113"/>
              <a:ext cx="1779588" cy="619125"/>
            </a:xfrm>
            <a:custGeom>
              <a:avLst/>
              <a:gdLst>
                <a:gd name="T0" fmla="*/ 1121 w 1121"/>
                <a:gd name="T1" fmla="*/ 26 h 390"/>
                <a:gd name="T2" fmla="*/ 1121 w 1121"/>
                <a:gd name="T3" fmla="*/ 26 h 390"/>
                <a:gd name="T4" fmla="*/ 1121 w 1121"/>
                <a:gd name="T5" fmla="*/ 26 h 390"/>
                <a:gd name="T6" fmla="*/ 1121 w 1121"/>
                <a:gd name="T7" fmla="*/ 28 h 390"/>
                <a:gd name="T8" fmla="*/ 1121 w 1121"/>
                <a:gd name="T9" fmla="*/ 26 h 390"/>
                <a:gd name="T10" fmla="*/ 1055 w 1121"/>
                <a:gd name="T11" fmla="*/ 0 h 390"/>
                <a:gd name="T12" fmla="*/ 0 w 1121"/>
                <a:gd name="T13" fmla="*/ 388 h 390"/>
                <a:gd name="T14" fmla="*/ 0 w 1121"/>
                <a:gd name="T15" fmla="*/ 390 h 390"/>
                <a:gd name="T16" fmla="*/ 1055 w 1121"/>
                <a:gd name="T17" fmla="*/ 2 h 390"/>
                <a:gd name="T18" fmla="*/ 1121 w 1121"/>
                <a:gd name="T19" fmla="*/ 26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1" h="390">
                  <a:moveTo>
                    <a:pt x="1121" y="26"/>
                  </a:moveTo>
                  <a:lnTo>
                    <a:pt x="1121" y="26"/>
                  </a:lnTo>
                  <a:lnTo>
                    <a:pt x="1121" y="26"/>
                  </a:lnTo>
                  <a:lnTo>
                    <a:pt x="1121" y="28"/>
                  </a:lnTo>
                  <a:lnTo>
                    <a:pt x="1121" y="26"/>
                  </a:lnTo>
                  <a:lnTo>
                    <a:pt x="1055" y="0"/>
                  </a:lnTo>
                  <a:lnTo>
                    <a:pt x="0" y="388"/>
                  </a:lnTo>
                  <a:lnTo>
                    <a:pt x="0" y="390"/>
                  </a:lnTo>
                  <a:lnTo>
                    <a:pt x="1055" y="2"/>
                  </a:lnTo>
                  <a:lnTo>
                    <a:pt x="1121" y="26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Freeform 508"/>
            <p:cNvSpPr>
              <a:spLocks noEditPoints="1"/>
            </p:cNvSpPr>
            <p:nvPr/>
          </p:nvSpPr>
          <p:spPr bwMode="gray">
            <a:xfrm>
              <a:off x="7580313" y="-3175"/>
              <a:ext cx="1808163" cy="2112963"/>
            </a:xfrm>
            <a:custGeom>
              <a:avLst/>
              <a:gdLst>
                <a:gd name="T0" fmla="*/ 3 w 482"/>
                <a:gd name="T1" fmla="*/ 164 h 563"/>
                <a:gd name="T2" fmla="*/ 3 w 482"/>
                <a:gd name="T3" fmla="*/ 544 h 563"/>
                <a:gd name="T4" fmla="*/ 32 w 482"/>
                <a:gd name="T5" fmla="*/ 563 h 563"/>
                <a:gd name="T6" fmla="*/ 165 w 482"/>
                <a:gd name="T7" fmla="*/ 512 h 563"/>
                <a:gd name="T8" fmla="*/ 370 w 482"/>
                <a:gd name="T9" fmla="*/ 489 h 563"/>
                <a:gd name="T10" fmla="*/ 330 w 482"/>
                <a:gd name="T11" fmla="*/ 430 h 563"/>
                <a:gd name="T12" fmla="*/ 482 w 482"/>
                <a:gd name="T13" fmla="*/ 14 h 563"/>
                <a:gd name="T14" fmla="*/ 451 w 482"/>
                <a:gd name="T15" fmla="*/ 0 h 563"/>
                <a:gd name="T16" fmla="*/ 173 w 482"/>
                <a:gd name="T17" fmla="*/ 500 h 563"/>
                <a:gd name="T18" fmla="*/ 233 w 482"/>
                <a:gd name="T19" fmla="*/ 519 h 563"/>
                <a:gd name="T20" fmla="*/ 173 w 482"/>
                <a:gd name="T21" fmla="*/ 508 h 563"/>
                <a:gd name="T22" fmla="*/ 239 w 482"/>
                <a:gd name="T23" fmla="*/ 519 h 563"/>
                <a:gd name="T24" fmla="*/ 363 w 482"/>
                <a:gd name="T25" fmla="*/ 484 h 563"/>
                <a:gd name="T26" fmla="*/ 236 w 482"/>
                <a:gd name="T27" fmla="*/ 513 h 563"/>
                <a:gd name="T28" fmla="*/ 322 w 482"/>
                <a:gd name="T29" fmla="*/ 434 h 563"/>
                <a:gd name="T30" fmla="*/ 236 w 482"/>
                <a:gd name="T31" fmla="*/ 513 h 563"/>
                <a:gd name="T32" fmla="*/ 7 w 482"/>
                <a:gd name="T33" fmla="*/ 543 h 563"/>
                <a:gd name="T34" fmla="*/ 5 w 482"/>
                <a:gd name="T35" fmla="*/ 171 h 563"/>
                <a:gd name="T36" fmla="*/ 7 w 482"/>
                <a:gd name="T37" fmla="*/ 543 h 563"/>
                <a:gd name="T38" fmla="*/ 31 w 482"/>
                <a:gd name="T39" fmla="*/ 558 h 563"/>
                <a:gd name="T40" fmla="*/ 32 w 482"/>
                <a:gd name="T41" fmla="*/ 558 h 563"/>
                <a:gd name="T42" fmla="*/ 470 w 482"/>
                <a:gd name="T43" fmla="*/ 362 h 563"/>
                <a:gd name="T44" fmla="*/ 478 w 482"/>
                <a:gd name="T45" fmla="*/ 16 h 563"/>
                <a:gd name="T46" fmla="*/ 471 w 482"/>
                <a:gd name="T47" fmla="*/ 363 h 563"/>
                <a:gd name="T48" fmla="*/ 4 w 482"/>
                <a:gd name="T49" fmla="*/ 169 h 563"/>
                <a:gd name="T50" fmla="*/ 450 w 482"/>
                <a:gd name="T51" fmla="*/ 4 h 563"/>
                <a:gd name="T52" fmla="*/ 478 w 482"/>
                <a:gd name="T53" fmla="*/ 16 h 563"/>
                <a:gd name="T54" fmla="*/ 478 w 482"/>
                <a:gd name="T55" fmla="*/ 15 h 563"/>
                <a:gd name="T56" fmla="*/ 450 w 482"/>
                <a:gd name="T57" fmla="*/ 5 h 563"/>
                <a:gd name="T58" fmla="*/ 35 w 482"/>
                <a:gd name="T59" fmla="*/ 552 h 563"/>
                <a:gd name="T60" fmla="*/ 474 w 482"/>
                <a:gd name="T61" fmla="*/ 21 h 563"/>
                <a:gd name="T62" fmla="*/ 35 w 482"/>
                <a:gd name="T63" fmla="*/ 552 h 563"/>
                <a:gd name="T64" fmla="*/ 28 w 482"/>
                <a:gd name="T65" fmla="*/ 551 h 563"/>
                <a:gd name="T66" fmla="*/ 9 w 482"/>
                <a:gd name="T67" fmla="*/ 176 h 563"/>
                <a:gd name="T68" fmla="*/ 13 w 482"/>
                <a:gd name="T69" fmla="*/ 170 h 563"/>
                <a:gd name="T70" fmla="*/ 468 w 482"/>
                <a:gd name="T71" fmla="*/ 16 h 563"/>
                <a:gd name="T72" fmla="*/ 13 w 482"/>
                <a:gd name="T73" fmla="*/ 170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2" h="563">
                  <a:moveTo>
                    <a:pt x="451" y="0"/>
                  </a:moveTo>
                  <a:cubicBezTo>
                    <a:pt x="3" y="164"/>
                    <a:pt x="3" y="164"/>
                    <a:pt x="3" y="164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3" y="544"/>
                    <a:pt x="3" y="544"/>
                    <a:pt x="3" y="544"/>
                  </a:cubicBezTo>
                  <a:cubicBezTo>
                    <a:pt x="3" y="545"/>
                    <a:pt x="3" y="545"/>
                    <a:pt x="3" y="545"/>
                  </a:cubicBezTo>
                  <a:cubicBezTo>
                    <a:pt x="32" y="563"/>
                    <a:pt x="32" y="563"/>
                    <a:pt x="32" y="563"/>
                  </a:cubicBezTo>
                  <a:cubicBezTo>
                    <a:pt x="166" y="503"/>
                    <a:pt x="166" y="503"/>
                    <a:pt x="166" y="503"/>
                  </a:cubicBezTo>
                  <a:cubicBezTo>
                    <a:pt x="165" y="512"/>
                    <a:pt x="165" y="512"/>
                    <a:pt x="165" y="512"/>
                  </a:cubicBezTo>
                  <a:cubicBezTo>
                    <a:pt x="234" y="551"/>
                    <a:pt x="234" y="551"/>
                    <a:pt x="234" y="551"/>
                  </a:cubicBezTo>
                  <a:cubicBezTo>
                    <a:pt x="370" y="489"/>
                    <a:pt x="370" y="489"/>
                    <a:pt x="370" y="489"/>
                  </a:cubicBezTo>
                  <a:cubicBezTo>
                    <a:pt x="372" y="454"/>
                    <a:pt x="372" y="454"/>
                    <a:pt x="372" y="454"/>
                  </a:cubicBezTo>
                  <a:cubicBezTo>
                    <a:pt x="330" y="430"/>
                    <a:pt x="330" y="430"/>
                    <a:pt x="330" y="430"/>
                  </a:cubicBezTo>
                  <a:cubicBezTo>
                    <a:pt x="475" y="365"/>
                    <a:pt x="475" y="365"/>
                    <a:pt x="475" y="365"/>
                  </a:cubicBezTo>
                  <a:cubicBezTo>
                    <a:pt x="482" y="14"/>
                    <a:pt x="482" y="14"/>
                    <a:pt x="482" y="14"/>
                  </a:cubicBezTo>
                  <a:cubicBezTo>
                    <a:pt x="482" y="12"/>
                    <a:pt x="482" y="12"/>
                    <a:pt x="482" y="12"/>
                  </a:cubicBezTo>
                  <a:lnTo>
                    <a:pt x="451" y="0"/>
                  </a:lnTo>
                  <a:close/>
                  <a:moveTo>
                    <a:pt x="173" y="508"/>
                  </a:moveTo>
                  <a:cubicBezTo>
                    <a:pt x="173" y="500"/>
                    <a:pt x="173" y="500"/>
                    <a:pt x="173" y="500"/>
                  </a:cubicBezTo>
                  <a:cubicBezTo>
                    <a:pt x="187" y="494"/>
                    <a:pt x="187" y="494"/>
                    <a:pt x="187" y="494"/>
                  </a:cubicBezTo>
                  <a:cubicBezTo>
                    <a:pt x="194" y="497"/>
                    <a:pt x="217" y="510"/>
                    <a:pt x="233" y="519"/>
                  </a:cubicBezTo>
                  <a:cubicBezTo>
                    <a:pt x="232" y="541"/>
                    <a:pt x="232" y="541"/>
                    <a:pt x="232" y="541"/>
                  </a:cubicBezTo>
                  <a:lnTo>
                    <a:pt x="173" y="508"/>
                  </a:lnTo>
                  <a:close/>
                  <a:moveTo>
                    <a:pt x="238" y="541"/>
                  </a:moveTo>
                  <a:cubicBezTo>
                    <a:pt x="239" y="519"/>
                    <a:pt x="239" y="519"/>
                    <a:pt x="239" y="519"/>
                  </a:cubicBezTo>
                  <a:cubicBezTo>
                    <a:pt x="365" y="461"/>
                    <a:pt x="365" y="461"/>
                    <a:pt x="365" y="461"/>
                  </a:cubicBezTo>
                  <a:cubicBezTo>
                    <a:pt x="363" y="484"/>
                    <a:pt x="363" y="484"/>
                    <a:pt x="363" y="484"/>
                  </a:cubicBezTo>
                  <a:lnTo>
                    <a:pt x="238" y="541"/>
                  </a:lnTo>
                  <a:close/>
                  <a:moveTo>
                    <a:pt x="236" y="513"/>
                  </a:moveTo>
                  <a:cubicBezTo>
                    <a:pt x="216" y="502"/>
                    <a:pt x="202" y="495"/>
                    <a:pt x="195" y="491"/>
                  </a:cubicBezTo>
                  <a:cubicBezTo>
                    <a:pt x="322" y="434"/>
                    <a:pt x="322" y="434"/>
                    <a:pt x="322" y="434"/>
                  </a:cubicBezTo>
                  <a:cubicBezTo>
                    <a:pt x="361" y="456"/>
                    <a:pt x="361" y="456"/>
                    <a:pt x="361" y="456"/>
                  </a:cubicBezTo>
                  <a:lnTo>
                    <a:pt x="236" y="513"/>
                  </a:lnTo>
                  <a:close/>
                  <a:moveTo>
                    <a:pt x="32" y="559"/>
                  </a:moveTo>
                  <a:cubicBezTo>
                    <a:pt x="7" y="543"/>
                    <a:pt x="7" y="543"/>
                    <a:pt x="7" y="543"/>
                  </a:cubicBezTo>
                  <a:cubicBezTo>
                    <a:pt x="4" y="170"/>
                    <a:pt x="4" y="170"/>
                    <a:pt x="4" y="170"/>
                  </a:cubicBezTo>
                  <a:cubicBezTo>
                    <a:pt x="5" y="171"/>
                    <a:pt x="5" y="171"/>
                    <a:pt x="5" y="171"/>
                  </a:cubicBezTo>
                  <a:cubicBezTo>
                    <a:pt x="7" y="542"/>
                    <a:pt x="7" y="542"/>
                    <a:pt x="7" y="542"/>
                  </a:cubicBezTo>
                  <a:cubicBezTo>
                    <a:pt x="7" y="543"/>
                    <a:pt x="7" y="543"/>
                    <a:pt x="7" y="543"/>
                  </a:cubicBezTo>
                  <a:cubicBezTo>
                    <a:pt x="31" y="558"/>
                    <a:pt x="31" y="558"/>
                    <a:pt x="31" y="558"/>
                  </a:cubicBezTo>
                  <a:cubicBezTo>
                    <a:pt x="31" y="558"/>
                    <a:pt x="31" y="558"/>
                    <a:pt x="31" y="558"/>
                  </a:cubicBezTo>
                  <a:cubicBezTo>
                    <a:pt x="32" y="558"/>
                    <a:pt x="32" y="558"/>
                    <a:pt x="32" y="558"/>
                  </a:cubicBezTo>
                  <a:cubicBezTo>
                    <a:pt x="32" y="558"/>
                    <a:pt x="32" y="558"/>
                    <a:pt x="32" y="558"/>
                  </a:cubicBezTo>
                  <a:cubicBezTo>
                    <a:pt x="32" y="558"/>
                    <a:pt x="32" y="558"/>
                    <a:pt x="32" y="558"/>
                  </a:cubicBezTo>
                  <a:cubicBezTo>
                    <a:pt x="470" y="362"/>
                    <a:pt x="470" y="362"/>
                    <a:pt x="470" y="362"/>
                  </a:cubicBezTo>
                  <a:cubicBezTo>
                    <a:pt x="478" y="18"/>
                    <a:pt x="478" y="18"/>
                    <a:pt x="478" y="18"/>
                  </a:cubicBezTo>
                  <a:cubicBezTo>
                    <a:pt x="478" y="16"/>
                    <a:pt x="478" y="16"/>
                    <a:pt x="478" y="16"/>
                  </a:cubicBezTo>
                  <a:cubicBezTo>
                    <a:pt x="478" y="16"/>
                    <a:pt x="478" y="16"/>
                    <a:pt x="478" y="16"/>
                  </a:cubicBezTo>
                  <a:cubicBezTo>
                    <a:pt x="471" y="363"/>
                    <a:pt x="471" y="363"/>
                    <a:pt x="471" y="363"/>
                  </a:cubicBezTo>
                  <a:lnTo>
                    <a:pt x="32" y="559"/>
                  </a:lnTo>
                  <a:close/>
                  <a:moveTo>
                    <a:pt x="4" y="169"/>
                  </a:moveTo>
                  <a:cubicBezTo>
                    <a:pt x="4" y="168"/>
                    <a:pt x="4" y="168"/>
                    <a:pt x="4" y="168"/>
                  </a:cubicBezTo>
                  <a:cubicBezTo>
                    <a:pt x="450" y="4"/>
                    <a:pt x="450" y="4"/>
                    <a:pt x="450" y="4"/>
                  </a:cubicBezTo>
                  <a:cubicBezTo>
                    <a:pt x="478" y="15"/>
                    <a:pt x="478" y="15"/>
                    <a:pt x="478" y="15"/>
                  </a:cubicBezTo>
                  <a:cubicBezTo>
                    <a:pt x="478" y="16"/>
                    <a:pt x="478" y="16"/>
                    <a:pt x="478" y="16"/>
                  </a:cubicBezTo>
                  <a:cubicBezTo>
                    <a:pt x="478" y="15"/>
                    <a:pt x="478" y="15"/>
                    <a:pt x="478" y="15"/>
                  </a:cubicBezTo>
                  <a:cubicBezTo>
                    <a:pt x="478" y="15"/>
                    <a:pt x="478" y="15"/>
                    <a:pt x="478" y="15"/>
                  </a:cubicBezTo>
                  <a:cubicBezTo>
                    <a:pt x="478" y="15"/>
                    <a:pt x="478" y="15"/>
                    <a:pt x="478" y="15"/>
                  </a:cubicBezTo>
                  <a:cubicBezTo>
                    <a:pt x="450" y="5"/>
                    <a:pt x="450" y="5"/>
                    <a:pt x="450" y="5"/>
                  </a:cubicBezTo>
                  <a:lnTo>
                    <a:pt x="4" y="169"/>
                  </a:lnTo>
                  <a:close/>
                  <a:moveTo>
                    <a:pt x="35" y="552"/>
                  </a:moveTo>
                  <a:cubicBezTo>
                    <a:pt x="33" y="187"/>
                    <a:pt x="33" y="187"/>
                    <a:pt x="33" y="187"/>
                  </a:cubicBezTo>
                  <a:cubicBezTo>
                    <a:pt x="474" y="21"/>
                    <a:pt x="474" y="21"/>
                    <a:pt x="474" y="21"/>
                  </a:cubicBezTo>
                  <a:cubicBezTo>
                    <a:pt x="466" y="359"/>
                    <a:pt x="466" y="359"/>
                    <a:pt x="466" y="359"/>
                  </a:cubicBezTo>
                  <a:lnTo>
                    <a:pt x="35" y="552"/>
                  </a:lnTo>
                  <a:close/>
                  <a:moveTo>
                    <a:pt x="26" y="186"/>
                  </a:moveTo>
                  <a:cubicBezTo>
                    <a:pt x="28" y="551"/>
                    <a:pt x="28" y="551"/>
                    <a:pt x="28" y="551"/>
                  </a:cubicBezTo>
                  <a:cubicBezTo>
                    <a:pt x="11" y="541"/>
                    <a:pt x="11" y="541"/>
                    <a:pt x="11" y="541"/>
                  </a:cubicBezTo>
                  <a:cubicBezTo>
                    <a:pt x="9" y="176"/>
                    <a:pt x="9" y="176"/>
                    <a:pt x="9" y="176"/>
                  </a:cubicBezTo>
                  <a:lnTo>
                    <a:pt x="26" y="186"/>
                  </a:lnTo>
                  <a:close/>
                  <a:moveTo>
                    <a:pt x="13" y="170"/>
                  </a:moveTo>
                  <a:cubicBezTo>
                    <a:pt x="450" y="9"/>
                    <a:pt x="450" y="9"/>
                    <a:pt x="450" y="9"/>
                  </a:cubicBezTo>
                  <a:cubicBezTo>
                    <a:pt x="468" y="16"/>
                    <a:pt x="468" y="16"/>
                    <a:pt x="468" y="16"/>
                  </a:cubicBezTo>
                  <a:cubicBezTo>
                    <a:pt x="31" y="180"/>
                    <a:pt x="31" y="180"/>
                    <a:pt x="31" y="180"/>
                  </a:cubicBezTo>
                  <a:lnTo>
                    <a:pt x="13" y="170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Freeform 509"/>
            <p:cNvSpPr>
              <a:spLocks noEditPoints="1"/>
            </p:cNvSpPr>
            <p:nvPr/>
          </p:nvSpPr>
          <p:spPr bwMode="gray">
            <a:xfrm>
              <a:off x="7762876" y="153988"/>
              <a:ext cx="1528763" cy="1824038"/>
            </a:xfrm>
            <a:custGeom>
              <a:avLst/>
              <a:gdLst>
                <a:gd name="T0" fmla="*/ 0 w 963"/>
                <a:gd name="T1" fmla="*/ 366 h 1149"/>
                <a:gd name="T2" fmla="*/ 5 w 963"/>
                <a:gd name="T3" fmla="*/ 1137 h 1149"/>
                <a:gd name="T4" fmla="*/ 5 w 963"/>
                <a:gd name="T5" fmla="*/ 1149 h 1149"/>
                <a:gd name="T6" fmla="*/ 946 w 963"/>
                <a:gd name="T7" fmla="*/ 733 h 1149"/>
                <a:gd name="T8" fmla="*/ 951 w 963"/>
                <a:gd name="T9" fmla="*/ 731 h 1149"/>
                <a:gd name="T10" fmla="*/ 963 w 963"/>
                <a:gd name="T11" fmla="*/ 9 h 1149"/>
                <a:gd name="T12" fmla="*/ 963 w 963"/>
                <a:gd name="T13" fmla="*/ 0 h 1149"/>
                <a:gd name="T14" fmla="*/ 5 w 963"/>
                <a:gd name="T15" fmla="*/ 364 h 1149"/>
                <a:gd name="T16" fmla="*/ 0 w 963"/>
                <a:gd name="T17" fmla="*/ 366 h 1149"/>
                <a:gd name="T18" fmla="*/ 15 w 963"/>
                <a:gd name="T19" fmla="*/ 376 h 1149"/>
                <a:gd name="T20" fmla="*/ 946 w 963"/>
                <a:gd name="T21" fmla="*/ 21 h 1149"/>
                <a:gd name="T22" fmla="*/ 934 w 963"/>
                <a:gd name="T23" fmla="*/ 721 h 1149"/>
                <a:gd name="T24" fmla="*/ 19 w 963"/>
                <a:gd name="T25" fmla="*/ 1128 h 1149"/>
                <a:gd name="T26" fmla="*/ 15 w 963"/>
                <a:gd name="T27" fmla="*/ 376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3" h="1149">
                  <a:moveTo>
                    <a:pt x="0" y="366"/>
                  </a:moveTo>
                  <a:lnTo>
                    <a:pt x="5" y="1137"/>
                  </a:lnTo>
                  <a:lnTo>
                    <a:pt x="5" y="1149"/>
                  </a:lnTo>
                  <a:lnTo>
                    <a:pt x="946" y="733"/>
                  </a:lnTo>
                  <a:lnTo>
                    <a:pt x="951" y="731"/>
                  </a:lnTo>
                  <a:lnTo>
                    <a:pt x="963" y="9"/>
                  </a:lnTo>
                  <a:lnTo>
                    <a:pt x="963" y="0"/>
                  </a:lnTo>
                  <a:lnTo>
                    <a:pt x="5" y="364"/>
                  </a:lnTo>
                  <a:lnTo>
                    <a:pt x="0" y="366"/>
                  </a:lnTo>
                  <a:close/>
                  <a:moveTo>
                    <a:pt x="15" y="376"/>
                  </a:moveTo>
                  <a:lnTo>
                    <a:pt x="946" y="21"/>
                  </a:lnTo>
                  <a:lnTo>
                    <a:pt x="934" y="721"/>
                  </a:lnTo>
                  <a:lnTo>
                    <a:pt x="19" y="1128"/>
                  </a:lnTo>
                  <a:lnTo>
                    <a:pt x="15" y="376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Freeform 510"/>
            <p:cNvSpPr>
              <a:spLocks/>
            </p:cNvSpPr>
            <p:nvPr/>
          </p:nvSpPr>
          <p:spPr bwMode="gray">
            <a:xfrm>
              <a:off x="8585201" y="863600"/>
              <a:ext cx="477838" cy="206375"/>
            </a:xfrm>
            <a:custGeom>
              <a:avLst/>
              <a:gdLst>
                <a:gd name="T0" fmla="*/ 301 w 301"/>
                <a:gd name="T1" fmla="*/ 2 h 130"/>
                <a:gd name="T2" fmla="*/ 298 w 301"/>
                <a:gd name="T3" fmla="*/ 0 h 130"/>
                <a:gd name="T4" fmla="*/ 0 w 301"/>
                <a:gd name="T5" fmla="*/ 127 h 130"/>
                <a:gd name="T6" fmla="*/ 0 w 301"/>
                <a:gd name="T7" fmla="*/ 130 h 130"/>
                <a:gd name="T8" fmla="*/ 301 w 301"/>
                <a:gd name="T9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30">
                  <a:moveTo>
                    <a:pt x="301" y="2"/>
                  </a:moveTo>
                  <a:lnTo>
                    <a:pt x="298" y="0"/>
                  </a:lnTo>
                  <a:lnTo>
                    <a:pt x="0" y="127"/>
                  </a:lnTo>
                  <a:lnTo>
                    <a:pt x="0" y="130"/>
                  </a:lnTo>
                  <a:lnTo>
                    <a:pt x="301" y="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Freeform 511"/>
            <p:cNvSpPr>
              <a:spLocks noEditPoints="1"/>
            </p:cNvSpPr>
            <p:nvPr/>
          </p:nvSpPr>
          <p:spPr bwMode="gray">
            <a:xfrm>
              <a:off x="8562976" y="844550"/>
              <a:ext cx="517525" cy="244475"/>
            </a:xfrm>
            <a:custGeom>
              <a:avLst/>
              <a:gdLst>
                <a:gd name="T0" fmla="*/ 0 w 326"/>
                <a:gd name="T1" fmla="*/ 135 h 154"/>
                <a:gd name="T2" fmla="*/ 10 w 326"/>
                <a:gd name="T3" fmla="*/ 154 h 154"/>
                <a:gd name="T4" fmla="*/ 326 w 326"/>
                <a:gd name="T5" fmla="*/ 19 h 154"/>
                <a:gd name="T6" fmla="*/ 319 w 326"/>
                <a:gd name="T7" fmla="*/ 0 h 154"/>
                <a:gd name="T8" fmla="*/ 0 w 326"/>
                <a:gd name="T9" fmla="*/ 135 h 154"/>
                <a:gd name="T10" fmla="*/ 312 w 326"/>
                <a:gd name="T11" fmla="*/ 12 h 154"/>
                <a:gd name="T12" fmla="*/ 315 w 326"/>
                <a:gd name="T13" fmla="*/ 14 h 154"/>
                <a:gd name="T14" fmla="*/ 14 w 326"/>
                <a:gd name="T15" fmla="*/ 142 h 154"/>
                <a:gd name="T16" fmla="*/ 14 w 326"/>
                <a:gd name="T17" fmla="*/ 139 h 154"/>
                <a:gd name="T18" fmla="*/ 312 w 326"/>
                <a:gd name="T1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6" h="154">
                  <a:moveTo>
                    <a:pt x="0" y="135"/>
                  </a:moveTo>
                  <a:lnTo>
                    <a:pt x="10" y="154"/>
                  </a:lnTo>
                  <a:lnTo>
                    <a:pt x="326" y="19"/>
                  </a:lnTo>
                  <a:lnTo>
                    <a:pt x="319" y="0"/>
                  </a:lnTo>
                  <a:lnTo>
                    <a:pt x="0" y="135"/>
                  </a:lnTo>
                  <a:close/>
                  <a:moveTo>
                    <a:pt x="312" y="12"/>
                  </a:moveTo>
                  <a:lnTo>
                    <a:pt x="315" y="14"/>
                  </a:lnTo>
                  <a:lnTo>
                    <a:pt x="14" y="142"/>
                  </a:lnTo>
                  <a:lnTo>
                    <a:pt x="14" y="139"/>
                  </a:lnTo>
                  <a:lnTo>
                    <a:pt x="312" y="1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Freeform 512"/>
            <p:cNvSpPr>
              <a:spLocks/>
            </p:cNvSpPr>
            <p:nvPr/>
          </p:nvSpPr>
          <p:spPr bwMode="gray">
            <a:xfrm>
              <a:off x="8582026" y="927100"/>
              <a:ext cx="476250" cy="206375"/>
            </a:xfrm>
            <a:custGeom>
              <a:avLst/>
              <a:gdLst>
                <a:gd name="T0" fmla="*/ 300 w 300"/>
                <a:gd name="T1" fmla="*/ 2 h 130"/>
                <a:gd name="T2" fmla="*/ 300 w 300"/>
                <a:gd name="T3" fmla="*/ 0 h 130"/>
                <a:gd name="T4" fmla="*/ 0 w 300"/>
                <a:gd name="T5" fmla="*/ 128 h 130"/>
                <a:gd name="T6" fmla="*/ 0 w 300"/>
                <a:gd name="T7" fmla="*/ 130 h 130"/>
                <a:gd name="T8" fmla="*/ 300 w 300"/>
                <a:gd name="T9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30">
                  <a:moveTo>
                    <a:pt x="300" y="2"/>
                  </a:moveTo>
                  <a:lnTo>
                    <a:pt x="300" y="0"/>
                  </a:lnTo>
                  <a:lnTo>
                    <a:pt x="0" y="128"/>
                  </a:lnTo>
                  <a:lnTo>
                    <a:pt x="0" y="130"/>
                  </a:lnTo>
                  <a:lnTo>
                    <a:pt x="300" y="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Freeform 513"/>
            <p:cNvSpPr>
              <a:spLocks noEditPoints="1"/>
            </p:cNvSpPr>
            <p:nvPr/>
          </p:nvSpPr>
          <p:spPr bwMode="gray">
            <a:xfrm>
              <a:off x="8562976" y="908050"/>
              <a:ext cx="517525" cy="247650"/>
            </a:xfrm>
            <a:custGeom>
              <a:avLst/>
              <a:gdLst>
                <a:gd name="T0" fmla="*/ 0 w 326"/>
                <a:gd name="T1" fmla="*/ 135 h 156"/>
                <a:gd name="T2" fmla="*/ 7 w 326"/>
                <a:gd name="T3" fmla="*/ 156 h 156"/>
                <a:gd name="T4" fmla="*/ 326 w 326"/>
                <a:gd name="T5" fmla="*/ 21 h 156"/>
                <a:gd name="T6" fmla="*/ 317 w 326"/>
                <a:gd name="T7" fmla="*/ 0 h 156"/>
                <a:gd name="T8" fmla="*/ 0 w 326"/>
                <a:gd name="T9" fmla="*/ 135 h 156"/>
                <a:gd name="T10" fmla="*/ 312 w 326"/>
                <a:gd name="T11" fmla="*/ 12 h 156"/>
                <a:gd name="T12" fmla="*/ 312 w 326"/>
                <a:gd name="T13" fmla="*/ 14 h 156"/>
                <a:gd name="T14" fmla="*/ 12 w 326"/>
                <a:gd name="T15" fmla="*/ 142 h 156"/>
                <a:gd name="T16" fmla="*/ 12 w 326"/>
                <a:gd name="T17" fmla="*/ 140 h 156"/>
                <a:gd name="T18" fmla="*/ 312 w 32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6" h="156">
                  <a:moveTo>
                    <a:pt x="0" y="135"/>
                  </a:moveTo>
                  <a:lnTo>
                    <a:pt x="7" y="156"/>
                  </a:lnTo>
                  <a:lnTo>
                    <a:pt x="326" y="21"/>
                  </a:lnTo>
                  <a:lnTo>
                    <a:pt x="317" y="0"/>
                  </a:lnTo>
                  <a:lnTo>
                    <a:pt x="0" y="135"/>
                  </a:lnTo>
                  <a:close/>
                  <a:moveTo>
                    <a:pt x="312" y="12"/>
                  </a:moveTo>
                  <a:lnTo>
                    <a:pt x="312" y="14"/>
                  </a:lnTo>
                  <a:lnTo>
                    <a:pt x="12" y="142"/>
                  </a:lnTo>
                  <a:lnTo>
                    <a:pt x="12" y="140"/>
                  </a:lnTo>
                  <a:lnTo>
                    <a:pt x="312" y="1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Freeform 514"/>
            <p:cNvSpPr>
              <a:spLocks/>
            </p:cNvSpPr>
            <p:nvPr/>
          </p:nvSpPr>
          <p:spPr bwMode="gray">
            <a:xfrm>
              <a:off x="8578851" y="1084263"/>
              <a:ext cx="250825" cy="112713"/>
            </a:xfrm>
            <a:custGeom>
              <a:avLst/>
              <a:gdLst>
                <a:gd name="T0" fmla="*/ 158 w 158"/>
                <a:gd name="T1" fmla="*/ 3 h 71"/>
                <a:gd name="T2" fmla="*/ 156 w 158"/>
                <a:gd name="T3" fmla="*/ 0 h 71"/>
                <a:gd name="T4" fmla="*/ 0 w 158"/>
                <a:gd name="T5" fmla="*/ 67 h 71"/>
                <a:gd name="T6" fmla="*/ 2 w 158"/>
                <a:gd name="T7" fmla="*/ 71 h 71"/>
                <a:gd name="T8" fmla="*/ 158 w 158"/>
                <a:gd name="T9" fmla="*/ 3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71">
                  <a:moveTo>
                    <a:pt x="158" y="3"/>
                  </a:moveTo>
                  <a:lnTo>
                    <a:pt x="156" y="0"/>
                  </a:lnTo>
                  <a:lnTo>
                    <a:pt x="0" y="67"/>
                  </a:lnTo>
                  <a:lnTo>
                    <a:pt x="2" y="71"/>
                  </a:lnTo>
                  <a:lnTo>
                    <a:pt x="158" y="3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Freeform 515"/>
            <p:cNvSpPr>
              <a:spLocks noEditPoints="1"/>
            </p:cNvSpPr>
            <p:nvPr/>
          </p:nvSpPr>
          <p:spPr bwMode="gray">
            <a:xfrm>
              <a:off x="8559801" y="1065213"/>
              <a:ext cx="288925" cy="150813"/>
            </a:xfrm>
            <a:custGeom>
              <a:avLst/>
              <a:gdLst>
                <a:gd name="T0" fmla="*/ 0 w 182"/>
                <a:gd name="T1" fmla="*/ 74 h 95"/>
                <a:gd name="T2" fmla="*/ 9 w 182"/>
                <a:gd name="T3" fmla="*/ 95 h 95"/>
                <a:gd name="T4" fmla="*/ 182 w 182"/>
                <a:gd name="T5" fmla="*/ 22 h 95"/>
                <a:gd name="T6" fmla="*/ 175 w 182"/>
                <a:gd name="T7" fmla="*/ 0 h 95"/>
                <a:gd name="T8" fmla="*/ 0 w 182"/>
                <a:gd name="T9" fmla="*/ 74 h 95"/>
                <a:gd name="T10" fmla="*/ 168 w 182"/>
                <a:gd name="T11" fmla="*/ 12 h 95"/>
                <a:gd name="T12" fmla="*/ 170 w 182"/>
                <a:gd name="T13" fmla="*/ 15 h 95"/>
                <a:gd name="T14" fmla="*/ 14 w 182"/>
                <a:gd name="T15" fmla="*/ 83 h 95"/>
                <a:gd name="T16" fmla="*/ 12 w 182"/>
                <a:gd name="T17" fmla="*/ 79 h 95"/>
                <a:gd name="T18" fmla="*/ 168 w 182"/>
                <a:gd name="T19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95">
                  <a:moveTo>
                    <a:pt x="0" y="74"/>
                  </a:moveTo>
                  <a:lnTo>
                    <a:pt x="9" y="95"/>
                  </a:lnTo>
                  <a:lnTo>
                    <a:pt x="182" y="22"/>
                  </a:lnTo>
                  <a:lnTo>
                    <a:pt x="175" y="0"/>
                  </a:lnTo>
                  <a:lnTo>
                    <a:pt x="0" y="74"/>
                  </a:lnTo>
                  <a:close/>
                  <a:moveTo>
                    <a:pt x="168" y="12"/>
                  </a:moveTo>
                  <a:lnTo>
                    <a:pt x="170" y="15"/>
                  </a:lnTo>
                  <a:lnTo>
                    <a:pt x="14" y="83"/>
                  </a:lnTo>
                  <a:lnTo>
                    <a:pt x="12" y="79"/>
                  </a:lnTo>
                  <a:lnTo>
                    <a:pt x="168" y="1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Freeform 516"/>
            <p:cNvSpPr>
              <a:spLocks/>
            </p:cNvSpPr>
            <p:nvPr/>
          </p:nvSpPr>
          <p:spPr bwMode="gray">
            <a:xfrm>
              <a:off x="8589963" y="739775"/>
              <a:ext cx="476250" cy="206375"/>
            </a:xfrm>
            <a:custGeom>
              <a:avLst/>
              <a:gdLst>
                <a:gd name="T0" fmla="*/ 300 w 300"/>
                <a:gd name="T1" fmla="*/ 2 h 130"/>
                <a:gd name="T2" fmla="*/ 300 w 300"/>
                <a:gd name="T3" fmla="*/ 0 h 130"/>
                <a:gd name="T4" fmla="*/ 0 w 300"/>
                <a:gd name="T5" fmla="*/ 127 h 130"/>
                <a:gd name="T6" fmla="*/ 0 w 300"/>
                <a:gd name="T7" fmla="*/ 130 h 130"/>
                <a:gd name="T8" fmla="*/ 300 w 300"/>
                <a:gd name="T9" fmla="*/ 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130">
                  <a:moveTo>
                    <a:pt x="300" y="2"/>
                  </a:moveTo>
                  <a:lnTo>
                    <a:pt x="300" y="0"/>
                  </a:lnTo>
                  <a:lnTo>
                    <a:pt x="0" y="127"/>
                  </a:lnTo>
                  <a:lnTo>
                    <a:pt x="0" y="130"/>
                  </a:lnTo>
                  <a:lnTo>
                    <a:pt x="300" y="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Freeform 517"/>
            <p:cNvSpPr>
              <a:spLocks noEditPoints="1"/>
            </p:cNvSpPr>
            <p:nvPr/>
          </p:nvSpPr>
          <p:spPr bwMode="gray">
            <a:xfrm>
              <a:off x="8566151" y="720725"/>
              <a:ext cx="519113" cy="244475"/>
            </a:xfrm>
            <a:custGeom>
              <a:avLst/>
              <a:gdLst>
                <a:gd name="T0" fmla="*/ 0 w 327"/>
                <a:gd name="T1" fmla="*/ 135 h 154"/>
                <a:gd name="T2" fmla="*/ 10 w 327"/>
                <a:gd name="T3" fmla="*/ 154 h 154"/>
                <a:gd name="T4" fmla="*/ 327 w 327"/>
                <a:gd name="T5" fmla="*/ 19 h 154"/>
                <a:gd name="T6" fmla="*/ 320 w 327"/>
                <a:gd name="T7" fmla="*/ 0 h 154"/>
                <a:gd name="T8" fmla="*/ 0 w 327"/>
                <a:gd name="T9" fmla="*/ 135 h 154"/>
                <a:gd name="T10" fmla="*/ 315 w 327"/>
                <a:gd name="T11" fmla="*/ 12 h 154"/>
                <a:gd name="T12" fmla="*/ 315 w 327"/>
                <a:gd name="T13" fmla="*/ 14 h 154"/>
                <a:gd name="T14" fmla="*/ 15 w 327"/>
                <a:gd name="T15" fmla="*/ 142 h 154"/>
                <a:gd name="T16" fmla="*/ 15 w 327"/>
                <a:gd name="T17" fmla="*/ 139 h 154"/>
                <a:gd name="T18" fmla="*/ 315 w 327"/>
                <a:gd name="T1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7" h="154">
                  <a:moveTo>
                    <a:pt x="0" y="135"/>
                  </a:moveTo>
                  <a:lnTo>
                    <a:pt x="10" y="154"/>
                  </a:lnTo>
                  <a:lnTo>
                    <a:pt x="327" y="19"/>
                  </a:lnTo>
                  <a:lnTo>
                    <a:pt x="320" y="0"/>
                  </a:lnTo>
                  <a:lnTo>
                    <a:pt x="0" y="135"/>
                  </a:lnTo>
                  <a:close/>
                  <a:moveTo>
                    <a:pt x="315" y="12"/>
                  </a:moveTo>
                  <a:lnTo>
                    <a:pt x="315" y="14"/>
                  </a:lnTo>
                  <a:lnTo>
                    <a:pt x="15" y="142"/>
                  </a:lnTo>
                  <a:lnTo>
                    <a:pt x="15" y="139"/>
                  </a:lnTo>
                  <a:lnTo>
                    <a:pt x="315" y="1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Freeform 518"/>
            <p:cNvSpPr>
              <a:spLocks/>
            </p:cNvSpPr>
            <p:nvPr/>
          </p:nvSpPr>
          <p:spPr bwMode="gray">
            <a:xfrm>
              <a:off x="8585201" y="803275"/>
              <a:ext cx="477838" cy="206375"/>
            </a:xfrm>
            <a:custGeom>
              <a:avLst/>
              <a:gdLst>
                <a:gd name="T0" fmla="*/ 301 w 301"/>
                <a:gd name="T1" fmla="*/ 5 h 130"/>
                <a:gd name="T2" fmla="*/ 301 w 301"/>
                <a:gd name="T3" fmla="*/ 0 h 130"/>
                <a:gd name="T4" fmla="*/ 0 w 301"/>
                <a:gd name="T5" fmla="*/ 128 h 130"/>
                <a:gd name="T6" fmla="*/ 3 w 301"/>
                <a:gd name="T7" fmla="*/ 130 h 130"/>
                <a:gd name="T8" fmla="*/ 301 w 301"/>
                <a:gd name="T9" fmla="*/ 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1" h="130">
                  <a:moveTo>
                    <a:pt x="301" y="5"/>
                  </a:moveTo>
                  <a:lnTo>
                    <a:pt x="301" y="0"/>
                  </a:lnTo>
                  <a:lnTo>
                    <a:pt x="0" y="128"/>
                  </a:lnTo>
                  <a:lnTo>
                    <a:pt x="3" y="130"/>
                  </a:lnTo>
                  <a:lnTo>
                    <a:pt x="301" y="5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Freeform 519"/>
            <p:cNvSpPr>
              <a:spLocks noEditPoints="1"/>
            </p:cNvSpPr>
            <p:nvPr/>
          </p:nvSpPr>
          <p:spPr bwMode="gray">
            <a:xfrm>
              <a:off x="8566151" y="784225"/>
              <a:ext cx="519113" cy="247650"/>
            </a:xfrm>
            <a:custGeom>
              <a:avLst/>
              <a:gdLst>
                <a:gd name="T0" fmla="*/ 0 w 327"/>
                <a:gd name="T1" fmla="*/ 135 h 156"/>
                <a:gd name="T2" fmla="*/ 8 w 327"/>
                <a:gd name="T3" fmla="*/ 156 h 156"/>
                <a:gd name="T4" fmla="*/ 327 w 327"/>
                <a:gd name="T5" fmla="*/ 21 h 156"/>
                <a:gd name="T6" fmla="*/ 317 w 327"/>
                <a:gd name="T7" fmla="*/ 0 h 156"/>
                <a:gd name="T8" fmla="*/ 0 w 327"/>
                <a:gd name="T9" fmla="*/ 135 h 156"/>
                <a:gd name="T10" fmla="*/ 313 w 327"/>
                <a:gd name="T11" fmla="*/ 12 h 156"/>
                <a:gd name="T12" fmla="*/ 313 w 327"/>
                <a:gd name="T13" fmla="*/ 17 h 156"/>
                <a:gd name="T14" fmla="*/ 15 w 327"/>
                <a:gd name="T15" fmla="*/ 142 h 156"/>
                <a:gd name="T16" fmla="*/ 12 w 327"/>
                <a:gd name="T17" fmla="*/ 140 h 156"/>
                <a:gd name="T18" fmla="*/ 313 w 327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7" h="156">
                  <a:moveTo>
                    <a:pt x="0" y="135"/>
                  </a:moveTo>
                  <a:lnTo>
                    <a:pt x="8" y="156"/>
                  </a:lnTo>
                  <a:lnTo>
                    <a:pt x="327" y="21"/>
                  </a:lnTo>
                  <a:lnTo>
                    <a:pt x="317" y="0"/>
                  </a:lnTo>
                  <a:lnTo>
                    <a:pt x="0" y="135"/>
                  </a:lnTo>
                  <a:close/>
                  <a:moveTo>
                    <a:pt x="313" y="12"/>
                  </a:moveTo>
                  <a:lnTo>
                    <a:pt x="313" y="17"/>
                  </a:lnTo>
                  <a:lnTo>
                    <a:pt x="15" y="142"/>
                  </a:lnTo>
                  <a:lnTo>
                    <a:pt x="12" y="140"/>
                  </a:lnTo>
                  <a:lnTo>
                    <a:pt x="313" y="12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Freeform 520"/>
            <p:cNvSpPr>
              <a:spLocks/>
            </p:cNvSpPr>
            <p:nvPr/>
          </p:nvSpPr>
          <p:spPr bwMode="gray">
            <a:xfrm>
              <a:off x="8180388" y="1073150"/>
              <a:ext cx="82550" cy="82550"/>
            </a:xfrm>
            <a:custGeom>
              <a:avLst/>
              <a:gdLst>
                <a:gd name="T0" fmla="*/ 19 w 22"/>
                <a:gd name="T1" fmla="*/ 7 h 22"/>
                <a:gd name="T2" fmla="*/ 19 w 22"/>
                <a:gd name="T3" fmla="*/ 4 h 22"/>
                <a:gd name="T4" fmla="*/ 15 w 22"/>
                <a:gd name="T5" fmla="*/ 0 h 22"/>
                <a:gd name="T6" fmla="*/ 15 w 22"/>
                <a:gd name="T7" fmla="*/ 0 h 22"/>
                <a:gd name="T8" fmla="*/ 14 w 22"/>
                <a:gd name="T9" fmla="*/ 0 h 22"/>
                <a:gd name="T10" fmla="*/ 13 w 22"/>
                <a:gd name="T11" fmla="*/ 2 h 22"/>
                <a:gd name="T12" fmla="*/ 12 w 22"/>
                <a:gd name="T13" fmla="*/ 3 h 22"/>
                <a:gd name="T14" fmla="*/ 11 w 22"/>
                <a:gd name="T15" fmla="*/ 2 h 22"/>
                <a:gd name="T16" fmla="*/ 10 w 22"/>
                <a:gd name="T17" fmla="*/ 2 h 22"/>
                <a:gd name="T18" fmla="*/ 10 w 22"/>
                <a:gd name="T19" fmla="*/ 2 h 22"/>
                <a:gd name="T20" fmla="*/ 9 w 22"/>
                <a:gd name="T21" fmla="*/ 3 h 22"/>
                <a:gd name="T22" fmla="*/ 8 w 22"/>
                <a:gd name="T23" fmla="*/ 4 h 22"/>
                <a:gd name="T24" fmla="*/ 7 w 22"/>
                <a:gd name="T25" fmla="*/ 5 h 22"/>
                <a:gd name="T26" fmla="*/ 6 w 22"/>
                <a:gd name="T27" fmla="*/ 5 h 22"/>
                <a:gd name="T28" fmla="*/ 5 w 22"/>
                <a:gd name="T29" fmla="*/ 5 h 22"/>
                <a:gd name="T30" fmla="*/ 4 w 22"/>
                <a:gd name="T31" fmla="*/ 5 h 22"/>
                <a:gd name="T32" fmla="*/ 4 w 22"/>
                <a:gd name="T33" fmla="*/ 5 h 22"/>
                <a:gd name="T34" fmla="*/ 1 w 22"/>
                <a:gd name="T35" fmla="*/ 14 h 22"/>
                <a:gd name="T36" fmla="*/ 1 w 22"/>
                <a:gd name="T37" fmla="*/ 15 h 22"/>
                <a:gd name="T38" fmla="*/ 0 w 22"/>
                <a:gd name="T39" fmla="*/ 16 h 22"/>
                <a:gd name="T40" fmla="*/ 2 w 22"/>
                <a:gd name="T41" fmla="*/ 20 h 22"/>
                <a:gd name="T42" fmla="*/ 5 w 22"/>
                <a:gd name="T43" fmla="*/ 22 h 22"/>
                <a:gd name="T44" fmla="*/ 5 w 22"/>
                <a:gd name="T45" fmla="*/ 22 h 22"/>
                <a:gd name="T46" fmla="*/ 6 w 22"/>
                <a:gd name="T47" fmla="*/ 22 h 22"/>
                <a:gd name="T48" fmla="*/ 7 w 22"/>
                <a:gd name="T49" fmla="*/ 20 h 22"/>
                <a:gd name="T50" fmla="*/ 8 w 22"/>
                <a:gd name="T51" fmla="*/ 19 h 22"/>
                <a:gd name="T52" fmla="*/ 9 w 22"/>
                <a:gd name="T53" fmla="*/ 19 h 22"/>
                <a:gd name="T54" fmla="*/ 10 w 22"/>
                <a:gd name="T55" fmla="*/ 19 h 22"/>
                <a:gd name="T56" fmla="*/ 11 w 22"/>
                <a:gd name="T57" fmla="*/ 19 h 22"/>
                <a:gd name="T58" fmla="*/ 11 w 22"/>
                <a:gd name="T59" fmla="*/ 19 h 22"/>
                <a:gd name="T60" fmla="*/ 12 w 22"/>
                <a:gd name="T61" fmla="*/ 18 h 22"/>
                <a:gd name="T62" fmla="*/ 13 w 22"/>
                <a:gd name="T63" fmla="*/ 16 h 22"/>
                <a:gd name="T64" fmla="*/ 15 w 22"/>
                <a:gd name="T65" fmla="*/ 17 h 22"/>
                <a:gd name="T66" fmla="*/ 15 w 22"/>
                <a:gd name="T67" fmla="*/ 17 h 22"/>
                <a:gd name="T68" fmla="*/ 16 w 22"/>
                <a:gd name="T69" fmla="*/ 17 h 22"/>
                <a:gd name="T70" fmla="*/ 16 w 22"/>
                <a:gd name="T71" fmla="*/ 16 h 22"/>
                <a:gd name="T72" fmla="*/ 18 w 22"/>
                <a:gd name="T73" fmla="*/ 14 h 22"/>
                <a:gd name="T74" fmla="*/ 22 w 22"/>
                <a:gd name="T75" fmla="*/ 5 h 22"/>
                <a:gd name="T76" fmla="*/ 19 w 22"/>
                <a:gd name="T7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" h="22">
                  <a:moveTo>
                    <a:pt x="19" y="7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1"/>
                    <a:pt x="13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8" y="3"/>
                    <a:pt x="8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6"/>
                    <a:pt x="1" y="9"/>
                    <a:pt x="1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1"/>
                    <a:pt x="4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1"/>
                    <a:pt x="7" y="21"/>
                    <a:pt x="7" y="2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10" y="19"/>
                    <a:pt x="10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19"/>
                    <a:pt x="12" y="18"/>
                    <a:pt x="12" y="18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7" y="16"/>
                    <a:pt x="18" y="15"/>
                    <a:pt x="18" y="14"/>
                  </a:cubicBezTo>
                  <a:cubicBezTo>
                    <a:pt x="22" y="5"/>
                    <a:pt x="22" y="5"/>
                    <a:pt x="22" y="5"/>
                  </a:cubicBezTo>
                  <a:lnTo>
                    <a:pt x="19" y="7"/>
                  </a:lnTo>
                  <a:close/>
                </a:path>
              </a:pathLst>
            </a:custGeom>
            <a:grpFill/>
            <a:ln w="9525">
              <a:solidFill>
                <a:srgbClr val="41AAC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" name="Group 194"/>
          <p:cNvGrpSpPr>
            <a:grpSpLocks noChangeAspect="1"/>
          </p:cNvGrpSpPr>
          <p:nvPr/>
        </p:nvGrpSpPr>
        <p:grpSpPr bwMode="gray">
          <a:xfrm>
            <a:off x="7296503" y="2147382"/>
            <a:ext cx="1971112" cy="812240"/>
            <a:chOff x="2043114" y="5045072"/>
            <a:chExt cx="3944940" cy="1625599"/>
          </a:xfrm>
          <a:solidFill>
            <a:srgbClr val="879628"/>
          </a:solidFill>
        </p:grpSpPr>
        <p:sp>
          <p:nvSpPr>
            <p:cNvPr id="316" name="Freeform 552"/>
            <p:cNvSpPr>
              <a:spLocks/>
            </p:cNvSpPr>
            <p:nvPr/>
          </p:nvSpPr>
          <p:spPr bwMode="gray">
            <a:xfrm>
              <a:off x="4618040" y="5537197"/>
              <a:ext cx="71438" cy="1111250"/>
            </a:xfrm>
            <a:custGeom>
              <a:avLst/>
              <a:gdLst>
                <a:gd name="T0" fmla="*/ 45 w 45"/>
                <a:gd name="T1" fmla="*/ 700 h 700"/>
                <a:gd name="T2" fmla="*/ 45 w 45"/>
                <a:gd name="T3" fmla="*/ 697 h 700"/>
                <a:gd name="T4" fmla="*/ 5 w 45"/>
                <a:gd name="T5" fmla="*/ 674 h 700"/>
                <a:gd name="T6" fmla="*/ 0 w 45"/>
                <a:gd name="T7" fmla="*/ 2 h 700"/>
                <a:gd name="T8" fmla="*/ 0 w 45"/>
                <a:gd name="T9" fmla="*/ 0 h 700"/>
                <a:gd name="T10" fmla="*/ 3 w 45"/>
                <a:gd name="T11" fmla="*/ 674 h 700"/>
                <a:gd name="T12" fmla="*/ 45 w 45"/>
                <a:gd name="T13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700">
                  <a:moveTo>
                    <a:pt x="45" y="700"/>
                  </a:moveTo>
                  <a:lnTo>
                    <a:pt x="45" y="697"/>
                  </a:lnTo>
                  <a:lnTo>
                    <a:pt x="5" y="674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674"/>
                  </a:lnTo>
                  <a:lnTo>
                    <a:pt x="45" y="700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553"/>
            <p:cNvSpPr>
              <a:spLocks/>
            </p:cNvSpPr>
            <p:nvPr/>
          </p:nvSpPr>
          <p:spPr bwMode="gray">
            <a:xfrm>
              <a:off x="4692654" y="5097460"/>
              <a:ext cx="1281114" cy="1554162"/>
            </a:xfrm>
            <a:custGeom>
              <a:avLst/>
              <a:gdLst>
                <a:gd name="T0" fmla="*/ 807 w 807"/>
                <a:gd name="T1" fmla="*/ 0 h 979"/>
                <a:gd name="T2" fmla="*/ 807 w 807"/>
                <a:gd name="T3" fmla="*/ 0 h 979"/>
                <a:gd name="T4" fmla="*/ 793 w 807"/>
                <a:gd name="T5" fmla="*/ 624 h 979"/>
                <a:gd name="T6" fmla="*/ 790 w 807"/>
                <a:gd name="T7" fmla="*/ 624 h 979"/>
                <a:gd name="T8" fmla="*/ 0 w 807"/>
                <a:gd name="T9" fmla="*/ 979 h 979"/>
                <a:gd name="T10" fmla="*/ 3 w 807"/>
                <a:gd name="T11" fmla="*/ 979 h 979"/>
                <a:gd name="T12" fmla="*/ 277 w 807"/>
                <a:gd name="T13" fmla="*/ 856 h 979"/>
                <a:gd name="T14" fmla="*/ 277 w 807"/>
                <a:gd name="T15" fmla="*/ 856 h 979"/>
                <a:gd name="T16" fmla="*/ 795 w 807"/>
                <a:gd name="T17" fmla="*/ 624 h 979"/>
                <a:gd name="T18" fmla="*/ 807 w 807"/>
                <a:gd name="T1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7" h="979">
                  <a:moveTo>
                    <a:pt x="807" y="0"/>
                  </a:moveTo>
                  <a:lnTo>
                    <a:pt x="807" y="0"/>
                  </a:lnTo>
                  <a:lnTo>
                    <a:pt x="793" y="624"/>
                  </a:lnTo>
                  <a:lnTo>
                    <a:pt x="790" y="624"/>
                  </a:lnTo>
                  <a:lnTo>
                    <a:pt x="0" y="979"/>
                  </a:lnTo>
                  <a:lnTo>
                    <a:pt x="3" y="979"/>
                  </a:lnTo>
                  <a:lnTo>
                    <a:pt x="277" y="856"/>
                  </a:lnTo>
                  <a:lnTo>
                    <a:pt x="277" y="856"/>
                  </a:lnTo>
                  <a:lnTo>
                    <a:pt x="795" y="624"/>
                  </a:lnTo>
                  <a:lnTo>
                    <a:pt x="807" y="0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554"/>
            <p:cNvSpPr>
              <a:spLocks/>
            </p:cNvSpPr>
            <p:nvPr/>
          </p:nvSpPr>
          <p:spPr bwMode="gray">
            <a:xfrm>
              <a:off x="4618040" y="5059360"/>
              <a:ext cx="1355726" cy="477838"/>
            </a:xfrm>
            <a:custGeom>
              <a:avLst/>
              <a:gdLst>
                <a:gd name="T0" fmla="*/ 804 w 854"/>
                <a:gd name="T1" fmla="*/ 3 h 301"/>
                <a:gd name="T2" fmla="*/ 851 w 854"/>
                <a:gd name="T3" fmla="*/ 22 h 301"/>
                <a:gd name="T4" fmla="*/ 854 w 854"/>
                <a:gd name="T5" fmla="*/ 22 h 301"/>
                <a:gd name="T6" fmla="*/ 854 w 854"/>
                <a:gd name="T7" fmla="*/ 22 h 301"/>
                <a:gd name="T8" fmla="*/ 854 w 854"/>
                <a:gd name="T9" fmla="*/ 24 h 301"/>
                <a:gd name="T10" fmla="*/ 854 w 854"/>
                <a:gd name="T11" fmla="*/ 22 h 301"/>
                <a:gd name="T12" fmla="*/ 804 w 854"/>
                <a:gd name="T13" fmla="*/ 0 h 301"/>
                <a:gd name="T14" fmla="*/ 0 w 854"/>
                <a:gd name="T15" fmla="*/ 298 h 301"/>
                <a:gd name="T16" fmla="*/ 0 w 854"/>
                <a:gd name="T17" fmla="*/ 301 h 301"/>
                <a:gd name="T18" fmla="*/ 7 w 854"/>
                <a:gd name="T19" fmla="*/ 296 h 301"/>
                <a:gd name="T20" fmla="*/ 804 w 854"/>
                <a:gd name="T21" fmla="*/ 3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4" h="301">
                  <a:moveTo>
                    <a:pt x="804" y="3"/>
                  </a:moveTo>
                  <a:lnTo>
                    <a:pt x="851" y="22"/>
                  </a:lnTo>
                  <a:lnTo>
                    <a:pt x="854" y="22"/>
                  </a:lnTo>
                  <a:lnTo>
                    <a:pt x="854" y="22"/>
                  </a:lnTo>
                  <a:lnTo>
                    <a:pt x="854" y="24"/>
                  </a:lnTo>
                  <a:lnTo>
                    <a:pt x="854" y="22"/>
                  </a:lnTo>
                  <a:lnTo>
                    <a:pt x="804" y="0"/>
                  </a:lnTo>
                  <a:lnTo>
                    <a:pt x="0" y="298"/>
                  </a:lnTo>
                  <a:lnTo>
                    <a:pt x="0" y="301"/>
                  </a:lnTo>
                  <a:lnTo>
                    <a:pt x="7" y="296"/>
                  </a:lnTo>
                  <a:lnTo>
                    <a:pt x="804" y="3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555"/>
            <p:cNvSpPr>
              <a:spLocks noEditPoints="1"/>
            </p:cNvSpPr>
            <p:nvPr/>
          </p:nvSpPr>
          <p:spPr bwMode="gray">
            <a:xfrm>
              <a:off x="4603753" y="5045072"/>
              <a:ext cx="1384301" cy="1625599"/>
            </a:xfrm>
            <a:custGeom>
              <a:avLst/>
              <a:gdLst>
                <a:gd name="T0" fmla="*/ 344 w 369"/>
                <a:gd name="T1" fmla="*/ 0 h 433"/>
                <a:gd name="T2" fmla="*/ 0 w 369"/>
                <a:gd name="T3" fmla="*/ 127 h 433"/>
                <a:gd name="T4" fmla="*/ 24 w 369"/>
                <a:gd name="T5" fmla="*/ 433 h 433"/>
                <a:gd name="T6" fmla="*/ 126 w 369"/>
                <a:gd name="T7" fmla="*/ 393 h 433"/>
                <a:gd name="T8" fmla="*/ 283 w 369"/>
                <a:gd name="T9" fmla="*/ 376 h 433"/>
                <a:gd name="T10" fmla="*/ 254 w 369"/>
                <a:gd name="T11" fmla="*/ 330 h 433"/>
                <a:gd name="T12" fmla="*/ 369 w 369"/>
                <a:gd name="T13" fmla="*/ 10 h 433"/>
                <a:gd name="T14" fmla="*/ 177 w 369"/>
                <a:gd name="T15" fmla="*/ 398 h 433"/>
                <a:gd name="T16" fmla="*/ 133 w 369"/>
                <a:gd name="T17" fmla="*/ 389 h 433"/>
                <a:gd name="T18" fmla="*/ 143 w 369"/>
                <a:gd name="T19" fmla="*/ 380 h 433"/>
                <a:gd name="T20" fmla="*/ 170 w 369"/>
                <a:gd name="T21" fmla="*/ 387 h 433"/>
                <a:gd name="T22" fmla="*/ 246 w 369"/>
                <a:gd name="T23" fmla="*/ 334 h 433"/>
                <a:gd name="T24" fmla="*/ 180 w 369"/>
                <a:gd name="T25" fmla="*/ 393 h 433"/>
                <a:gd name="T26" fmla="*/ 183 w 369"/>
                <a:gd name="T27" fmla="*/ 414 h 433"/>
                <a:gd name="T28" fmla="*/ 277 w 369"/>
                <a:gd name="T29" fmla="*/ 355 h 433"/>
                <a:gd name="T30" fmla="*/ 183 w 369"/>
                <a:gd name="T31" fmla="*/ 414 h 433"/>
                <a:gd name="T32" fmla="*/ 141 w 369"/>
                <a:gd name="T33" fmla="*/ 376 h 433"/>
                <a:gd name="T34" fmla="*/ 24 w 369"/>
                <a:gd name="T35" fmla="*/ 428 h 433"/>
                <a:gd name="T36" fmla="*/ 359 w 369"/>
                <a:gd name="T37" fmla="*/ 278 h 433"/>
                <a:gd name="T38" fmla="*/ 365 w 369"/>
                <a:gd name="T39" fmla="*/ 14 h 433"/>
                <a:gd name="T40" fmla="*/ 141 w 369"/>
                <a:gd name="T41" fmla="*/ 376 h 433"/>
                <a:gd name="T42" fmla="*/ 4 w 369"/>
                <a:gd name="T43" fmla="*/ 130 h 433"/>
                <a:gd name="T44" fmla="*/ 365 w 369"/>
                <a:gd name="T45" fmla="*/ 13 h 433"/>
                <a:gd name="T46" fmla="*/ 365 w 369"/>
                <a:gd name="T47" fmla="*/ 13 h 433"/>
                <a:gd name="T48" fmla="*/ 364 w 369"/>
                <a:gd name="T49" fmla="*/ 13 h 433"/>
                <a:gd name="T50" fmla="*/ 7 w 369"/>
                <a:gd name="T51" fmla="*/ 129 h 433"/>
                <a:gd name="T52" fmla="*/ 20 w 369"/>
                <a:gd name="T53" fmla="*/ 420 h 433"/>
                <a:gd name="T54" fmla="*/ 8 w 369"/>
                <a:gd name="T55" fmla="*/ 137 h 433"/>
                <a:gd name="T56" fmla="*/ 20 w 369"/>
                <a:gd name="T57" fmla="*/ 420 h 433"/>
                <a:gd name="T58" fmla="*/ 12 w 369"/>
                <a:gd name="T59" fmla="*/ 132 h 433"/>
                <a:gd name="T60" fmla="*/ 354 w 369"/>
                <a:gd name="T61" fmla="*/ 14 h 433"/>
                <a:gd name="T62" fmla="*/ 360 w 369"/>
                <a:gd name="T63" fmla="*/ 19 h 433"/>
                <a:gd name="T64" fmla="*/ 27 w 369"/>
                <a:gd name="T65" fmla="*/ 422 h 433"/>
                <a:gd name="T66" fmla="*/ 360 w 369"/>
                <a:gd name="T67" fmla="*/ 19 h 433"/>
                <a:gd name="T68" fmla="*/ 6 w 369"/>
                <a:gd name="T69" fmla="*/ 416 h 433"/>
                <a:gd name="T70" fmla="*/ 23 w 369"/>
                <a:gd name="T71" fmla="*/ 427 h 433"/>
                <a:gd name="T72" fmla="*/ 4 w 369"/>
                <a:gd name="T73" fmla="*/ 131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9" h="433">
                  <a:moveTo>
                    <a:pt x="369" y="10"/>
                  </a:moveTo>
                  <a:cubicBezTo>
                    <a:pt x="344" y="0"/>
                    <a:pt x="344" y="0"/>
                    <a:pt x="344" y="0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1" y="418"/>
                    <a:pt x="1" y="418"/>
                    <a:pt x="1" y="418"/>
                  </a:cubicBezTo>
                  <a:cubicBezTo>
                    <a:pt x="24" y="433"/>
                    <a:pt x="24" y="433"/>
                    <a:pt x="24" y="433"/>
                  </a:cubicBezTo>
                  <a:cubicBezTo>
                    <a:pt x="126" y="387"/>
                    <a:pt x="126" y="387"/>
                    <a:pt x="126" y="387"/>
                  </a:cubicBezTo>
                  <a:cubicBezTo>
                    <a:pt x="126" y="393"/>
                    <a:pt x="126" y="393"/>
                    <a:pt x="126" y="393"/>
                  </a:cubicBezTo>
                  <a:cubicBezTo>
                    <a:pt x="179" y="423"/>
                    <a:pt x="179" y="423"/>
                    <a:pt x="179" y="423"/>
                  </a:cubicBezTo>
                  <a:cubicBezTo>
                    <a:pt x="283" y="376"/>
                    <a:pt x="283" y="376"/>
                    <a:pt x="283" y="376"/>
                  </a:cubicBezTo>
                  <a:cubicBezTo>
                    <a:pt x="285" y="348"/>
                    <a:pt x="285" y="348"/>
                    <a:pt x="285" y="348"/>
                  </a:cubicBezTo>
                  <a:cubicBezTo>
                    <a:pt x="254" y="330"/>
                    <a:pt x="254" y="330"/>
                    <a:pt x="254" y="330"/>
                  </a:cubicBezTo>
                  <a:cubicBezTo>
                    <a:pt x="364" y="281"/>
                    <a:pt x="364" y="281"/>
                    <a:pt x="364" y="281"/>
                  </a:cubicBezTo>
                  <a:lnTo>
                    <a:pt x="369" y="10"/>
                  </a:lnTo>
                  <a:close/>
                  <a:moveTo>
                    <a:pt x="171" y="395"/>
                  </a:moveTo>
                  <a:cubicBezTo>
                    <a:pt x="173" y="396"/>
                    <a:pt x="175" y="397"/>
                    <a:pt x="177" y="398"/>
                  </a:cubicBezTo>
                  <a:cubicBezTo>
                    <a:pt x="177" y="414"/>
                    <a:pt x="177" y="414"/>
                    <a:pt x="177" y="414"/>
                  </a:cubicBezTo>
                  <a:cubicBezTo>
                    <a:pt x="133" y="389"/>
                    <a:pt x="133" y="389"/>
                    <a:pt x="133" y="389"/>
                  </a:cubicBezTo>
                  <a:cubicBezTo>
                    <a:pt x="133" y="384"/>
                    <a:pt x="133" y="384"/>
                    <a:pt x="133" y="384"/>
                  </a:cubicBezTo>
                  <a:cubicBezTo>
                    <a:pt x="143" y="380"/>
                    <a:pt x="143" y="380"/>
                    <a:pt x="143" y="380"/>
                  </a:cubicBezTo>
                  <a:cubicBezTo>
                    <a:pt x="148" y="382"/>
                    <a:pt x="160" y="389"/>
                    <a:pt x="171" y="395"/>
                  </a:cubicBezTo>
                  <a:close/>
                  <a:moveTo>
                    <a:pt x="170" y="387"/>
                  </a:moveTo>
                  <a:cubicBezTo>
                    <a:pt x="161" y="382"/>
                    <a:pt x="155" y="379"/>
                    <a:pt x="150" y="376"/>
                  </a:cubicBezTo>
                  <a:cubicBezTo>
                    <a:pt x="246" y="334"/>
                    <a:pt x="246" y="334"/>
                    <a:pt x="246" y="334"/>
                  </a:cubicBezTo>
                  <a:cubicBezTo>
                    <a:pt x="274" y="350"/>
                    <a:pt x="274" y="350"/>
                    <a:pt x="274" y="350"/>
                  </a:cubicBezTo>
                  <a:cubicBezTo>
                    <a:pt x="180" y="393"/>
                    <a:pt x="180" y="393"/>
                    <a:pt x="180" y="393"/>
                  </a:cubicBezTo>
                  <a:cubicBezTo>
                    <a:pt x="177" y="391"/>
                    <a:pt x="173" y="389"/>
                    <a:pt x="170" y="387"/>
                  </a:cubicBezTo>
                  <a:close/>
                  <a:moveTo>
                    <a:pt x="183" y="414"/>
                  </a:moveTo>
                  <a:cubicBezTo>
                    <a:pt x="184" y="398"/>
                    <a:pt x="184" y="398"/>
                    <a:pt x="184" y="398"/>
                  </a:cubicBezTo>
                  <a:cubicBezTo>
                    <a:pt x="277" y="355"/>
                    <a:pt x="277" y="355"/>
                    <a:pt x="277" y="355"/>
                  </a:cubicBezTo>
                  <a:cubicBezTo>
                    <a:pt x="277" y="371"/>
                    <a:pt x="277" y="371"/>
                    <a:pt x="277" y="371"/>
                  </a:cubicBezTo>
                  <a:lnTo>
                    <a:pt x="183" y="414"/>
                  </a:lnTo>
                  <a:close/>
                  <a:moveTo>
                    <a:pt x="141" y="376"/>
                  </a:moveTo>
                  <a:cubicBezTo>
                    <a:pt x="141" y="376"/>
                    <a:pt x="141" y="376"/>
                    <a:pt x="141" y="376"/>
                  </a:cubicBezTo>
                  <a:cubicBezTo>
                    <a:pt x="25" y="428"/>
                    <a:pt x="25" y="428"/>
                    <a:pt x="25" y="428"/>
                  </a:cubicBezTo>
                  <a:cubicBezTo>
                    <a:pt x="24" y="428"/>
                    <a:pt x="24" y="428"/>
                    <a:pt x="24" y="428"/>
                  </a:cubicBezTo>
                  <a:cubicBezTo>
                    <a:pt x="358" y="278"/>
                    <a:pt x="358" y="278"/>
                    <a:pt x="358" y="278"/>
                  </a:cubicBezTo>
                  <a:cubicBezTo>
                    <a:pt x="359" y="278"/>
                    <a:pt x="359" y="278"/>
                    <a:pt x="359" y="278"/>
                  </a:cubicBezTo>
                  <a:cubicBezTo>
                    <a:pt x="365" y="14"/>
                    <a:pt x="365" y="14"/>
                    <a:pt x="365" y="14"/>
                  </a:cubicBezTo>
                  <a:cubicBezTo>
                    <a:pt x="365" y="14"/>
                    <a:pt x="365" y="14"/>
                    <a:pt x="365" y="14"/>
                  </a:cubicBezTo>
                  <a:cubicBezTo>
                    <a:pt x="360" y="278"/>
                    <a:pt x="360" y="278"/>
                    <a:pt x="360" y="278"/>
                  </a:cubicBezTo>
                  <a:lnTo>
                    <a:pt x="141" y="376"/>
                  </a:lnTo>
                  <a:close/>
                  <a:moveTo>
                    <a:pt x="4" y="131"/>
                  </a:moveTo>
                  <a:cubicBezTo>
                    <a:pt x="4" y="130"/>
                    <a:pt x="4" y="130"/>
                    <a:pt x="4" y="130"/>
                  </a:cubicBezTo>
                  <a:cubicBezTo>
                    <a:pt x="344" y="4"/>
                    <a:pt x="344" y="4"/>
                    <a:pt x="344" y="4"/>
                  </a:cubicBezTo>
                  <a:cubicBezTo>
                    <a:pt x="365" y="13"/>
                    <a:pt x="365" y="13"/>
                    <a:pt x="365" y="13"/>
                  </a:cubicBezTo>
                  <a:cubicBezTo>
                    <a:pt x="365" y="14"/>
                    <a:pt x="365" y="14"/>
                    <a:pt x="365" y="14"/>
                  </a:cubicBezTo>
                  <a:cubicBezTo>
                    <a:pt x="365" y="13"/>
                    <a:pt x="365" y="13"/>
                    <a:pt x="365" y="13"/>
                  </a:cubicBezTo>
                  <a:cubicBezTo>
                    <a:pt x="365" y="13"/>
                    <a:pt x="365" y="13"/>
                    <a:pt x="365" y="13"/>
                  </a:cubicBezTo>
                  <a:cubicBezTo>
                    <a:pt x="364" y="13"/>
                    <a:pt x="364" y="13"/>
                    <a:pt x="364" y="13"/>
                  </a:cubicBezTo>
                  <a:cubicBezTo>
                    <a:pt x="344" y="5"/>
                    <a:pt x="344" y="5"/>
                    <a:pt x="344" y="5"/>
                  </a:cubicBezTo>
                  <a:cubicBezTo>
                    <a:pt x="7" y="129"/>
                    <a:pt x="7" y="129"/>
                    <a:pt x="7" y="129"/>
                  </a:cubicBezTo>
                  <a:lnTo>
                    <a:pt x="4" y="131"/>
                  </a:lnTo>
                  <a:close/>
                  <a:moveTo>
                    <a:pt x="20" y="420"/>
                  </a:moveTo>
                  <a:cubicBezTo>
                    <a:pt x="10" y="414"/>
                    <a:pt x="10" y="414"/>
                    <a:pt x="10" y="414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19" y="144"/>
                    <a:pt x="19" y="144"/>
                    <a:pt x="19" y="144"/>
                  </a:cubicBezTo>
                  <a:lnTo>
                    <a:pt x="20" y="420"/>
                  </a:lnTo>
                  <a:close/>
                  <a:moveTo>
                    <a:pt x="23" y="138"/>
                  </a:moveTo>
                  <a:cubicBezTo>
                    <a:pt x="12" y="132"/>
                    <a:pt x="12" y="132"/>
                    <a:pt x="12" y="132"/>
                  </a:cubicBezTo>
                  <a:cubicBezTo>
                    <a:pt x="344" y="9"/>
                    <a:pt x="344" y="9"/>
                    <a:pt x="344" y="9"/>
                  </a:cubicBezTo>
                  <a:cubicBezTo>
                    <a:pt x="354" y="14"/>
                    <a:pt x="354" y="14"/>
                    <a:pt x="354" y="14"/>
                  </a:cubicBezTo>
                  <a:lnTo>
                    <a:pt x="23" y="138"/>
                  </a:lnTo>
                  <a:close/>
                  <a:moveTo>
                    <a:pt x="360" y="19"/>
                  </a:moveTo>
                  <a:cubicBezTo>
                    <a:pt x="355" y="275"/>
                    <a:pt x="355" y="275"/>
                    <a:pt x="355" y="275"/>
                  </a:cubicBezTo>
                  <a:cubicBezTo>
                    <a:pt x="27" y="422"/>
                    <a:pt x="27" y="422"/>
                    <a:pt x="27" y="422"/>
                  </a:cubicBezTo>
                  <a:cubicBezTo>
                    <a:pt x="26" y="144"/>
                    <a:pt x="26" y="144"/>
                    <a:pt x="26" y="144"/>
                  </a:cubicBezTo>
                  <a:lnTo>
                    <a:pt x="360" y="19"/>
                  </a:lnTo>
                  <a:close/>
                  <a:moveTo>
                    <a:pt x="4" y="132"/>
                  </a:moveTo>
                  <a:cubicBezTo>
                    <a:pt x="6" y="416"/>
                    <a:pt x="6" y="416"/>
                    <a:pt x="6" y="416"/>
                  </a:cubicBezTo>
                  <a:cubicBezTo>
                    <a:pt x="23" y="426"/>
                    <a:pt x="23" y="426"/>
                    <a:pt x="23" y="426"/>
                  </a:cubicBezTo>
                  <a:cubicBezTo>
                    <a:pt x="23" y="427"/>
                    <a:pt x="23" y="427"/>
                    <a:pt x="23" y="427"/>
                  </a:cubicBezTo>
                  <a:cubicBezTo>
                    <a:pt x="5" y="416"/>
                    <a:pt x="5" y="416"/>
                    <a:pt x="5" y="416"/>
                  </a:cubicBezTo>
                  <a:cubicBezTo>
                    <a:pt x="4" y="131"/>
                    <a:pt x="4" y="131"/>
                    <a:pt x="4" y="131"/>
                  </a:cubicBezTo>
                  <a:lnTo>
                    <a:pt x="4" y="132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556"/>
            <p:cNvSpPr>
              <a:spLocks noEditPoints="1"/>
            </p:cNvSpPr>
            <p:nvPr/>
          </p:nvSpPr>
          <p:spPr bwMode="gray">
            <a:xfrm>
              <a:off x="4741865" y="5165723"/>
              <a:ext cx="1171575" cy="1403349"/>
            </a:xfrm>
            <a:custGeom>
              <a:avLst/>
              <a:gdLst>
                <a:gd name="T0" fmla="*/ 7 w 738"/>
                <a:gd name="T1" fmla="*/ 884 h 884"/>
                <a:gd name="T2" fmla="*/ 728 w 738"/>
                <a:gd name="T3" fmla="*/ 562 h 884"/>
                <a:gd name="T4" fmla="*/ 738 w 738"/>
                <a:gd name="T5" fmla="*/ 11 h 884"/>
                <a:gd name="T6" fmla="*/ 738 w 738"/>
                <a:gd name="T7" fmla="*/ 0 h 884"/>
                <a:gd name="T8" fmla="*/ 5 w 738"/>
                <a:gd name="T9" fmla="*/ 279 h 884"/>
                <a:gd name="T10" fmla="*/ 0 w 738"/>
                <a:gd name="T11" fmla="*/ 281 h 884"/>
                <a:gd name="T12" fmla="*/ 5 w 738"/>
                <a:gd name="T13" fmla="*/ 872 h 884"/>
                <a:gd name="T14" fmla="*/ 7 w 738"/>
                <a:gd name="T15" fmla="*/ 884 h 884"/>
                <a:gd name="T16" fmla="*/ 14 w 738"/>
                <a:gd name="T17" fmla="*/ 290 h 884"/>
                <a:gd name="T18" fmla="*/ 721 w 738"/>
                <a:gd name="T19" fmla="*/ 21 h 884"/>
                <a:gd name="T20" fmla="*/ 714 w 738"/>
                <a:gd name="T21" fmla="*/ 553 h 884"/>
                <a:gd name="T22" fmla="*/ 21 w 738"/>
                <a:gd name="T23" fmla="*/ 860 h 884"/>
                <a:gd name="T24" fmla="*/ 14 w 738"/>
                <a:gd name="T25" fmla="*/ 290 h 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8" h="884">
                  <a:moveTo>
                    <a:pt x="7" y="884"/>
                  </a:moveTo>
                  <a:lnTo>
                    <a:pt x="728" y="562"/>
                  </a:lnTo>
                  <a:lnTo>
                    <a:pt x="738" y="11"/>
                  </a:lnTo>
                  <a:lnTo>
                    <a:pt x="738" y="0"/>
                  </a:lnTo>
                  <a:lnTo>
                    <a:pt x="5" y="279"/>
                  </a:lnTo>
                  <a:lnTo>
                    <a:pt x="0" y="281"/>
                  </a:lnTo>
                  <a:lnTo>
                    <a:pt x="5" y="872"/>
                  </a:lnTo>
                  <a:lnTo>
                    <a:pt x="7" y="884"/>
                  </a:lnTo>
                  <a:close/>
                  <a:moveTo>
                    <a:pt x="14" y="290"/>
                  </a:moveTo>
                  <a:lnTo>
                    <a:pt x="721" y="21"/>
                  </a:lnTo>
                  <a:lnTo>
                    <a:pt x="714" y="553"/>
                  </a:lnTo>
                  <a:lnTo>
                    <a:pt x="21" y="860"/>
                  </a:lnTo>
                  <a:lnTo>
                    <a:pt x="14" y="290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557"/>
            <p:cNvSpPr>
              <a:spLocks noEditPoints="1"/>
            </p:cNvSpPr>
            <p:nvPr/>
          </p:nvSpPr>
          <p:spPr bwMode="gray">
            <a:xfrm>
              <a:off x="5349878" y="5630860"/>
              <a:ext cx="225425" cy="492125"/>
            </a:xfrm>
            <a:custGeom>
              <a:avLst/>
              <a:gdLst>
                <a:gd name="T0" fmla="*/ 3 w 60"/>
                <a:gd name="T1" fmla="*/ 51 h 131"/>
                <a:gd name="T2" fmla="*/ 0 w 60"/>
                <a:gd name="T3" fmla="*/ 128 h 131"/>
                <a:gd name="T4" fmla="*/ 2 w 60"/>
                <a:gd name="T5" fmla="*/ 131 h 131"/>
                <a:gd name="T6" fmla="*/ 4 w 60"/>
                <a:gd name="T7" fmla="*/ 131 h 131"/>
                <a:gd name="T8" fmla="*/ 6 w 60"/>
                <a:gd name="T9" fmla="*/ 130 h 131"/>
                <a:gd name="T10" fmla="*/ 56 w 60"/>
                <a:gd name="T11" fmla="*/ 83 h 131"/>
                <a:gd name="T12" fmla="*/ 57 w 60"/>
                <a:gd name="T13" fmla="*/ 80 h 131"/>
                <a:gd name="T14" fmla="*/ 60 w 60"/>
                <a:gd name="T15" fmla="*/ 4 h 131"/>
                <a:gd name="T16" fmla="*/ 58 w 60"/>
                <a:gd name="T17" fmla="*/ 1 h 131"/>
                <a:gd name="T18" fmla="*/ 57 w 60"/>
                <a:gd name="T19" fmla="*/ 0 h 131"/>
                <a:gd name="T20" fmla="*/ 54 w 60"/>
                <a:gd name="T21" fmla="*/ 1 h 131"/>
                <a:gd name="T22" fmla="*/ 4 w 60"/>
                <a:gd name="T23" fmla="*/ 49 h 131"/>
                <a:gd name="T24" fmla="*/ 3 w 60"/>
                <a:gd name="T25" fmla="*/ 51 h 131"/>
                <a:gd name="T26" fmla="*/ 52 w 60"/>
                <a:gd name="T27" fmla="*/ 13 h 131"/>
                <a:gd name="T28" fmla="*/ 50 w 60"/>
                <a:gd name="T29" fmla="*/ 79 h 131"/>
                <a:gd name="T30" fmla="*/ 7 w 60"/>
                <a:gd name="T31" fmla="*/ 119 h 131"/>
                <a:gd name="T32" fmla="*/ 10 w 60"/>
                <a:gd name="T33" fmla="*/ 53 h 131"/>
                <a:gd name="T34" fmla="*/ 52 w 60"/>
                <a:gd name="T35" fmla="*/ 1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131">
                  <a:moveTo>
                    <a:pt x="3" y="51"/>
                  </a:moveTo>
                  <a:cubicBezTo>
                    <a:pt x="0" y="128"/>
                    <a:pt x="0" y="128"/>
                    <a:pt x="0" y="128"/>
                  </a:cubicBezTo>
                  <a:cubicBezTo>
                    <a:pt x="0" y="129"/>
                    <a:pt x="1" y="130"/>
                    <a:pt x="2" y="131"/>
                  </a:cubicBezTo>
                  <a:cubicBezTo>
                    <a:pt x="3" y="131"/>
                    <a:pt x="3" y="131"/>
                    <a:pt x="4" y="131"/>
                  </a:cubicBezTo>
                  <a:cubicBezTo>
                    <a:pt x="5" y="131"/>
                    <a:pt x="5" y="131"/>
                    <a:pt x="6" y="130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7" y="82"/>
                    <a:pt x="57" y="81"/>
                    <a:pt x="57" y="80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3"/>
                    <a:pt x="59" y="1"/>
                    <a:pt x="58" y="1"/>
                  </a:cubicBezTo>
                  <a:cubicBezTo>
                    <a:pt x="57" y="1"/>
                    <a:pt x="57" y="1"/>
                    <a:pt x="57" y="0"/>
                  </a:cubicBezTo>
                  <a:cubicBezTo>
                    <a:pt x="55" y="0"/>
                    <a:pt x="54" y="1"/>
                    <a:pt x="54" y="1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3" y="49"/>
                    <a:pt x="3" y="50"/>
                    <a:pt x="3" y="51"/>
                  </a:cubicBezTo>
                  <a:close/>
                  <a:moveTo>
                    <a:pt x="52" y="13"/>
                  </a:moveTo>
                  <a:cubicBezTo>
                    <a:pt x="50" y="79"/>
                    <a:pt x="50" y="79"/>
                    <a:pt x="50" y="79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10" y="53"/>
                    <a:pt x="10" y="53"/>
                    <a:pt x="10" y="53"/>
                  </a:cubicBezTo>
                  <a:lnTo>
                    <a:pt x="52" y="13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558"/>
            <p:cNvSpPr>
              <a:spLocks noEditPoints="1"/>
            </p:cNvSpPr>
            <p:nvPr/>
          </p:nvSpPr>
          <p:spPr bwMode="gray">
            <a:xfrm>
              <a:off x="5102228" y="5581647"/>
              <a:ext cx="406399" cy="525463"/>
            </a:xfrm>
            <a:custGeom>
              <a:avLst/>
              <a:gdLst>
                <a:gd name="T0" fmla="*/ 3 w 108"/>
                <a:gd name="T1" fmla="*/ 134 h 140"/>
                <a:gd name="T2" fmla="*/ 51 w 108"/>
                <a:gd name="T3" fmla="*/ 140 h 140"/>
                <a:gd name="T4" fmla="*/ 52 w 108"/>
                <a:gd name="T5" fmla="*/ 140 h 140"/>
                <a:gd name="T6" fmla="*/ 54 w 108"/>
                <a:gd name="T7" fmla="*/ 139 h 140"/>
                <a:gd name="T8" fmla="*/ 55 w 108"/>
                <a:gd name="T9" fmla="*/ 137 h 140"/>
                <a:gd name="T10" fmla="*/ 58 w 108"/>
                <a:gd name="T11" fmla="*/ 62 h 140"/>
                <a:gd name="T12" fmla="*/ 106 w 108"/>
                <a:gd name="T13" fmla="*/ 15 h 140"/>
                <a:gd name="T14" fmla="*/ 107 w 108"/>
                <a:gd name="T15" fmla="*/ 12 h 140"/>
                <a:gd name="T16" fmla="*/ 105 w 108"/>
                <a:gd name="T17" fmla="*/ 9 h 140"/>
                <a:gd name="T18" fmla="*/ 57 w 108"/>
                <a:gd name="T19" fmla="*/ 0 h 140"/>
                <a:gd name="T20" fmla="*/ 56 w 108"/>
                <a:gd name="T21" fmla="*/ 0 h 140"/>
                <a:gd name="T22" fmla="*/ 54 w 108"/>
                <a:gd name="T23" fmla="*/ 1 h 140"/>
                <a:gd name="T24" fmla="*/ 4 w 108"/>
                <a:gd name="T25" fmla="*/ 52 h 140"/>
                <a:gd name="T26" fmla="*/ 3 w 108"/>
                <a:gd name="T27" fmla="*/ 54 h 140"/>
                <a:gd name="T28" fmla="*/ 0 w 108"/>
                <a:gd name="T29" fmla="*/ 131 h 140"/>
                <a:gd name="T30" fmla="*/ 3 w 108"/>
                <a:gd name="T31" fmla="*/ 134 h 140"/>
                <a:gd name="T32" fmla="*/ 51 w 108"/>
                <a:gd name="T33" fmla="*/ 63 h 140"/>
                <a:gd name="T34" fmla="*/ 48 w 108"/>
                <a:gd name="T35" fmla="*/ 133 h 140"/>
                <a:gd name="T36" fmla="*/ 7 w 108"/>
                <a:gd name="T37" fmla="*/ 128 h 140"/>
                <a:gd name="T38" fmla="*/ 10 w 108"/>
                <a:gd name="T39" fmla="*/ 58 h 140"/>
                <a:gd name="T40" fmla="*/ 51 w 108"/>
                <a:gd name="T41" fmla="*/ 63 h 140"/>
                <a:gd name="T42" fmla="*/ 14 w 108"/>
                <a:gd name="T43" fmla="*/ 51 h 140"/>
                <a:gd name="T44" fmla="*/ 58 w 108"/>
                <a:gd name="T45" fmla="*/ 7 h 140"/>
                <a:gd name="T46" fmla="*/ 97 w 108"/>
                <a:gd name="T47" fmla="*/ 15 h 140"/>
                <a:gd name="T48" fmla="*/ 53 w 108"/>
                <a:gd name="T49" fmla="*/ 56 h 140"/>
                <a:gd name="T50" fmla="*/ 14 w 108"/>
                <a:gd name="T51" fmla="*/ 5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8" h="140">
                  <a:moveTo>
                    <a:pt x="3" y="134"/>
                  </a:moveTo>
                  <a:cubicBezTo>
                    <a:pt x="51" y="140"/>
                    <a:pt x="51" y="140"/>
                    <a:pt x="51" y="140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3" y="140"/>
                    <a:pt x="53" y="140"/>
                    <a:pt x="54" y="139"/>
                  </a:cubicBezTo>
                  <a:cubicBezTo>
                    <a:pt x="55" y="139"/>
                    <a:pt x="55" y="138"/>
                    <a:pt x="55" y="137"/>
                  </a:cubicBezTo>
                  <a:cubicBezTo>
                    <a:pt x="58" y="62"/>
                    <a:pt x="58" y="62"/>
                    <a:pt x="58" y="62"/>
                  </a:cubicBezTo>
                  <a:cubicBezTo>
                    <a:pt x="106" y="15"/>
                    <a:pt x="106" y="15"/>
                    <a:pt x="106" y="15"/>
                  </a:cubicBezTo>
                  <a:cubicBezTo>
                    <a:pt x="107" y="14"/>
                    <a:pt x="108" y="13"/>
                    <a:pt x="107" y="12"/>
                  </a:cubicBezTo>
                  <a:cubicBezTo>
                    <a:pt x="107" y="11"/>
                    <a:pt x="106" y="10"/>
                    <a:pt x="105" y="9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5" y="0"/>
                    <a:pt x="54" y="0"/>
                    <a:pt x="54" y="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3" y="52"/>
                    <a:pt x="3" y="53"/>
                    <a:pt x="3" y="54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2"/>
                    <a:pt x="1" y="134"/>
                    <a:pt x="3" y="134"/>
                  </a:cubicBezTo>
                  <a:close/>
                  <a:moveTo>
                    <a:pt x="51" y="63"/>
                  </a:moveTo>
                  <a:cubicBezTo>
                    <a:pt x="48" y="133"/>
                    <a:pt x="48" y="133"/>
                    <a:pt x="48" y="133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10" y="58"/>
                    <a:pt x="10" y="58"/>
                    <a:pt x="10" y="58"/>
                  </a:cubicBezTo>
                  <a:lnTo>
                    <a:pt x="51" y="63"/>
                  </a:lnTo>
                  <a:close/>
                  <a:moveTo>
                    <a:pt x="14" y="51"/>
                  </a:moveTo>
                  <a:cubicBezTo>
                    <a:pt x="58" y="7"/>
                    <a:pt x="58" y="7"/>
                    <a:pt x="58" y="7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53" y="56"/>
                    <a:pt x="53" y="56"/>
                    <a:pt x="53" y="56"/>
                  </a:cubicBezTo>
                  <a:lnTo>
                    <a:pt x="14" y="51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559"/>
            <p:cNvSpPr>
              <a:spLocks/>
            </p:cNvSpPr>
            <p:nvPr/>
          </p:nvSpPr>
          <p:spPr bwMode="gray">
            <a:xfrm>
              <a:off x="2058989" y="5495921"/>
              <a:ext cx="1392239" cy="715963"/>
            </a:xfrm>
            <a:custGeom>
              <a:avLst/>
              <a:gdLst>
                <a:gd name="T0" fmla="*/ 15 w 371"/>
                <a:gd name="T1" fmla="*/ 105 h 191"/>
                <a:gd name="T2" fmla="*/ 17 w 371"/>
                <a:gd name="T3" fmla="*/ 126 h 191"/>
                <a:gd name="T4" fmla="*/ 17 w 371"/>
                <a:gd name="T5" fmla="*/ 128 h 191"/>
                <a:gd name="T6" fmla="*/ 23 w 371"/>
                <a:gd name="T7" fmla="*/ 132 h 191"/>
                <a:gd name="T8" fmla="*/ 33 w 371"/>
                <a:gd name="T9" fmla="*/ 130 h 191"/>
                <a:gd name="T10" fmla="*/ 35 w 371"/>
                <a:gd name="T11" fmla="*/ 126 h 191"/>
                <a:gd name="T12" fmla="*/ 35 w 371"/>
                <a:gd name="T13" fmla="*/ 118 h 191"/>
                <a:gd name="T14" fmla="*/ 84 w 371"/>
                <a:gd name="T15" fmla="*/ 139 h 191"/>
                <a:gd name="T16" fmla="*/ 183 w 371"/>
                <a:gd name="T17" fmla="*/ 189 h 191"/>
                <a:gd name="T18" fmla="*/ 35 w 371"/>
                <a:gd name="T19" fmla="*/ 106 h 191"/>
                <a:gd name="T20" fmla="*/ 35 w 371"/>
                <a:gd name="T21" fmla="*/ 107 h 191"/>
                <a:gd name="T22" fmla="*/ 35 w 371"/>
                <a:gd name="T23" fmla="*/ 111 h 191"/>
                <a:gd name="T24" fmla="*/ 35 w 371"/>
                <a:gd name="T25" fmla="*/ 114 h 191"/>
                <a:gd name="T26" fmla="*/ 35 w 371"/>
                <a:gd name="T27" fmla="*/ 120 h 191"/>
                <a:gd name="T28" fmla="*/ 35 w 371"/>
                <a:gd name="T29" fmla="*/ 125 h 191"/>
                <a:gd name="T30" fmla="*/ 17 w 371"/>
                <a:gd name="T31" fmla="*/ 121 h 191"/>
                <a:gd name="T32" fmla="*/ 167 w 371"/>
                <a:gd name="T33" fmla="*/ 66 h 191"/>
                <a:gd name="T34" fmla="*/ 186 w 371"/>
                <a:gd name="T35" fmla="*/ 74 h 191"/>
                <a:gd name="T36" fmla="*/ 158 w 371"/>
                <a:gd name="T37" fmla="*/ 84 h 191"/>
                <a:gd name="T38" fmla="*/ 146 w 371"/>
                <a:gd name="T39" fmla="*/ 84 h 191"/>
                <a:gd name="T40" fmla="*/ 132 w 371"/>
                <a:gd name="T41" fmla="*/ 85 h 191"/>
                <a:gd name="T42" fmla="*/ 121 w 371"/>
                <a:gd name="T43" fmla="*/ 86 h 191"/>
                <a:gd name="T44" fmla="*/ 100 w 371"/>
                <a:gd name="T45" fmla="*/ 88 h 191"/>
                <a:gd name="T46" fmla="*/ 93 w 371"/>
                <a:gd name="T47" fmla="*/ 89 h 191"/>
                <a:gd name="T48" fmla="*/ 83 w 371"/>
                <a:gd name="T49" fmla="*/ 90 h 191"/>
                <a:gd name="T50" fmla="*/ 77 w 371"/>
                <a:gd name="T51" fmla="*/ 91 h 191"/>
                <a:gd name="T52" fmla="*/ 61 w 371"/>
                <a:gd name="T53" fmla="*/ 93 h 191"/>
                <a:gd name="T54" fmla="*/ 57 w 371"/>
                <a:gd name="T55" fmla="*/ 93 h 191"/>
                <a:gd name="T56" fmla="*/ 52 w 371"/>
                <a:gd name="T57" fmla="*/ 94 h 191"/>
                <a:gd name="T58" fmla="*/ 49 w 371"/>
                <a:gd name="T59" fmla="*/ 95 h 191"/>
                <a:gd name="T60" fmla="*/ 45 w 371"/>
                <a:gd name="T61" fmla="*/ 95 h 191"/>
                <a:gd name="T62" fmla="*/ 43 w 371"/>
                <a:gd name="T63" fmla="*/ 96 h 191"/>
                <a:gd name="T64" fmla="*/ 41 w 371"/>
                <a:gd name="T65" fmla="*/ 96 h 191"/>
                <a:gd name="T66" fmla="*/ 39 w 371"/>
                <a:gd name="T67" fmla="*/ 97 h 191"/>
                <a:gd name="T68" fmla="*/ 38 w 371"/>
                <a:gd name="T69" fmla="*/ 97 h 191"/>
                <a:gd name="T70" fmla="*/ 39 w 371"/>
                <a:gd name="T71" fmla="*/ 97 h 191"/>
                <a:gd name="T72" fmla="*/ 168 w 371"/>
                <a:gd name="T73" fmla="*/ 83 h 191"/>
                <a:gd name="T74" fmla="*/ 171 w 371"/>
                <a:gd name="T75" fmla="*/ 66 h 191"/>
                <a:gd name="T76" fmla="*/ 21 w 371"/>
                <a:gd name="T77" fmla="*/ 87 h 191"/>
                <a:gd name="T78" fmla="*/ 19 w 371"/>
                <a:gd name="T79" fmla="*/ 89 h 191"/>
                <a:gd name="T80" fmla="*/ 1 w 371"/>
                <a:gd name="T81" fmla="*/ 96 h 191"/>
                <a:gd name="T82" fmla="*/ 1 w 371"/>
                <a:gd name="T83" fmla="*/ 78 h 191"/>
                <a:gd name="T84" fmla="*/ 186 w 371"/>
                <a:gd name="T85" fmla="*/ 1 h 191"/>
                <a:gd name="T86" fmla="*/ 370 w 371"/>
                <a:gd name="T87" fmla="*/ 81 h 191"/>
                <a:gd name="T88" fmla="*/ 370 w 371"/>
                <a:gd name="T89" fmla="*/ 98 h 191"/>
                <a:gd name="T90" fmla="*/ 186 w 371"/>
                <a:gd name="T91" fmla="*/ 191 h 191"/>
                <a:gd name="T92" fmla="*/ 296 w 371"/>
                <a:gd name="T93" fmla="*/ 136 h 191"/>
                <a:gd name="T94" fmla="*/ 186 w 371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1" h="191">
                  <a:moveTo>
                    <a:pt x="0" y="78"/>
                  </a:moveTo>
                  <a:cubicBezTo>
                    <a:pt x="0" y="97"/>
                    <a:pt x="0" y="97"/>
                    <a:pt x="0" y="97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10"/>
                    <a:pt x="16" y="115"/>
                    <a:pt x="16" y="121"/>
                  </a:cubicBezTo>
                  <a:cubicBezTo>
                    <a:pt x="16" y="121"/>
                    <a:pt x="17" y="125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8" y="129"/>
                    <a:pt x="18" y="129"/>
                    <a:pt x="18" y="130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21" y="132"/>
                    <a:pt x="22" y="132"/>
                    <a:pt x="23" y="132"/>
                  </a:cubicBezTo>
                  <a:cubicBezTo>
                    <a:pt x="25" y="133"/>
                    <a:pt x="26" y="133"/>
                    <a:pt x="28" y="133"/>
                  </a:cubicBezTo>
                  <a:cubicBezTo>
                    <a:pt x="29" y="133"/>
                    <a:pt x="30" y="133"/>
                    <a:pt x="31" y="132"/>
                  </a:cubicBezTo>
                  <a:cubicBezTo>
                    <a:pt x="33" y="130"/>
                    <a:pt x="33" y="130"/>
                    <a:pt x="33" y="130"/>
                  </a:cubicBezTo>
                  <a:cubicBezTo>
                    <a:pt x="34" y="130"/>
                    <a:pt x="34" y="129"/>
                    <a:pt x="35" y="128"/>
                  </a:cubicBezTo>
                  <a:cubicBezTo>
                    <a:pt x="35" y="127"/>
                    <a:pt x="35" y="127"/>
                    <a:pt x="35" y="127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5" y="125"/>
                    <a:pt x="35" y="125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5" y="122"/>
                    <a:pt x="35" y="120"/>
                    <a:pt x="35" y="118"/>
                  </a:cubicBezTo>
                  <a:cubicBezTo>
                    <a:pt x="35" y="115"/>
                    <a:pt x="35" y="115"/>
                    <a:pt x="35" y="115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185" y="190"/>
                    <a:pt x="185" y="190"/>
                    <a:pt x="185" y="190"/>
                  </a:cubicBezTo>
                  <a:cubicBezTo>
                    <a:pt x="185" y="190"/>
                    <a:pt x="185" y="190"/>
                    <a:pt x="185" y="190"/>
                  </a:cubicBezTo>
                  <a:cubicBezTo>
                    <a:pt x="183" y="189"/>
                    <a:pt x="183" y="189"/>
                    <a:pt x="183" y="189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5" y="110"/>
                    <a:pt x="35" y="108"/>
                    <a:pt x="35" y="106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35" y="109"/>
                    <a:pt x="35" y="109"/>
                    <a:pt x="35" y="109"/>
                  </a:cubicBezTo>
                  <a:cubicBezTo>
                    <a:pt x="35" y="110"/>
                    <a:pt x="35" y="110"/>
                    <a:pt x="35" y="111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5" y="112"/>
                    <a:pt x="35" y="113"/>
                    <a:pt x="35" y="114"/>
                  </a:cubicBezTo>
                  <a:cubicBezTo>
                    <a:pt x="35" y="114"/>
                    <a:pt x="35" y="114"/>
                    <a:pt x="35" y="114"/>
                  </a:cubicBezTo>
                  <a:cubicBezTo>
                    <a:pt x="35" y="115"/>
                    <a:pt x="35" y="116"/>
                    <a:pt x="35" y="116"/>
                  </a:cubicBezTo>
                  <a:cubicBezTo>
                    <a:pt x="35" y="117"/>
                    <a:pt x="35" y="117"/>
                    <a:pt x="35" y="117"/>
                  </a:cubicBezTo>
                  <a:cubicBezTo>
                    <a:pt x="35" y="118"/>
                    <a:pt x="35" y="119"/>
                    <a:pt x="35" y="120"/>
                  </a:cubicBezTo>
                  <a:cubicBezTo>
                    <a:pt x="35" y="120"/>
                    <a:pt x="35" y="120"/>
                    <a:pt x="35" y="121"/>
                  </a:cubicBezTo>
                  <a:cubicBezTo>
                    <a:pt x="35" y="122"/>
                    <a:pt x="35" y="123"/>
                    <a:pt x="35" y="124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5" y="129"/>
                    <a:pt x="31" y="133"/>
                    <a:pt x="26" y="133"/>
                  </a:cubicBezTo>
                  <a:cubicBezTo>
                    <a:pt x="21" y="133"/>
                    <a:pt x="17" y="130"/>
                    <a:pt x="17" y="126"/>
                  </a:cubicBezTo>
                  <a:cubicBezTo>
                    <a:pt x="17" y="125"/>
                    <a:pt x="17" y="121"/>
                    <a:pt x="17" y="121"/>
                  </a:cubicBezTo>
                  <a:cubicBezTo>
                    <a:pt x="13" y="94"/>
                    <a:pt x="19" y="88"/>
                    <a:pt x="21" y="87"/>
                  </a:cubicBezTo>
                  <a:cubicBezTo>
                    <a:pt x="41" y="74"/>
                    <a:pt x="125" y="69"/>
                    <a:pt x="157" y="67"/>
                  </a:cubicBezTo>
                  <a:cubicBezTo>
                    <a:pt x="162" y="67"/>
                    <a:pt x="165" y="67"/>
                    <a:pt x="167" y="66"/>
                  </a:cubicBezTo>
                  <a:cubicBezTo>
                    <a:pt x="168" y="66"/>
                    <a:pt x="170" y="66"/>
                    <a:pt x="171" y="66"/>
                  </a:cubicBezTo>
                  <a:cubicBezTo>
                    <a:pt x="183" y="66"/>
                    <a:pt x="185" y="70"/>
                    <a:pt x="185" y="72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5"/>
                    <a:pt x="186" y="75"/>
                    <a:pt x="185" y="76"/>
                  </a:cubicBezTo>
                  <a:cubicBezTo>
                    <a:pt x="182" y="81"/>
                    <a:pt x="170" y="83"/>
                    <a:pt x="168" y="83"/>
                  </a:cubicBezTo>
                  <a:cubicBezTo>
                    <a:pt x="164" y="83"/>
                    <a:pt x="161" y="83"/>
                    <a:pt x="158" y="84"/>
                  </a:cubicBezTo>
                  <a:cubicBezTo>
                    <a:pt x="157" y="84"/>
                    <a:pt x="156" y="84"/>
                    <a:pt x="155" y="84"/>
                  </a:cubicBezTo>
                  <a:cubicBezTo>
                    <a:pt x="153" y="84"/>
                    <a:pt x="151" y="84"/>
                    <a:pt x="149" y="84"/>
                  </a:cubicBezTo>
                  <a:cubicBezTo>
                    <a:pt x="148" y="84"/>
                    <a:pt x="147" y="84"/>
                    <a:pt x="146" y="84"/>
                  </a:cubicBezTo>
                  <a:cubicBezTo>
                    <a:pt x="144" y="85"/>
                    <a:pt x="142" y="85"/>
                    <a:pt x="140" y="85"/>
                  </a:cubicBezTo>
                  <a:cubicBezTo>
                    <a:pt x="139" y="85"/>
                    <a:pt x="138" y="85"/>
                    <a:pt x="137" y="85"/>
                  </a:cubicBezTo>
                  <a:cubicBezTo>
                    <a:pt x="135" y="85"/>
                    <a:pt x="133" y="85"/>
                    <a:pt x="132" y="85"/>
                  </a:cubicBezTo>
                  <a:cubicBezTo>
                    <a:pt x="131" y="86"/>
                    <a:pt x="130" y="86"/>
                    <a:pt x="129" y="86"/>
                  </a:cubicBezTo>
                  <a:cubicBezTo>
                    <a:pt x="127" y="86"/>
                    <a:pt x="125" y="86"/>
                    <a:pt x="123" y="86"/>
                  </a:cubicBezTo>
                  <a:cubicBezTo>
                    <a:pt x="123" y="86"/>
                    <a:pt x="122" y="86"/>
                    <a:pt x="121" y="86"/>
                  </a:cubicBezTo>
                  <a:cubicBezTo>
                    <a:pt x="119" y="86"/>
                    <a:pt x="117" y="87"/>
                    <a:pt x="115" y="87"/>
                  </a:cubicBezTo>
                  <a:cubicBezTo>
                    <a:pt x="115" y="87"/>
                    <a:pt x="114" y="87"/>
                    <a:pt x="114" y="87"/>
                  </a:cubicBezTo>
                  <a:cubicBezTo>
                    <a:pt x="109" y="87"/>
                    <a:pt x="105" y="88"/>
                    <a:pt x="100" y="88"/>
                  </a:cubicBezTo>
                  <a:cubicBezTo>
                    <a:pt x="100" y="88"/>
                    <a:pt x="100" y="88"/>
                    <a:pt x="100" y="88"/>
                  </a:cubicBezTo>
                  <a:cubicBezTo>
                    <a:pt x="98" y="88"/>
                    <a:pt x="96" y="89"/>
                    <a:pt x="94" y="89"/>
                  </a:cubicBezTo>
                  <a:cubicBezTo>
                    <a:pt x="94" y="89"/>
                    <a:pt x="94" y="89"/>
                    <a:pt x="93" y="89"/>
                  </a:cubicBezTo>
                  <a:cubicBezTo>
                    <a:pt x="92" y="89"/>
                    <a:pt x="90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6" y="90"/>
                    <a:pt x="85" y="90"/>
                    <a:pt x="83" y="90"/>
                  </a:cubicBezTo>
                  <a:cubicBezTo>
                    <a:pt x="83" y="90"/>
                    <a:pt x="83" y="90"/>
                    <a:pt x="82" y="90"/>
                  </a:cubicBezTo>
                  <a:cubicBezTo>
                    <a:pt x="81" y="90"/>
                    <a:pt x="79" y="90"/>
                    <a:pt x="78" y="90"/>
                  </a:cubicBezTo>
                  <a:cubicBezTo>
                    <a:pt x="78" y="90"/>
                    <a:pt x="78" y="91"/>
                    <a:pt x="77" y="91"/>
                  </a:cubicBezTo>
                  <a:cubicBezTo>
                    <a:pt x="76" y="91"/>
                    <a:pt x="75" y="91"/>
                    <a:pt x="73" y="9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68" y="92"/>
                    <a:pt x="64" y="92"/>
                    <a:pt x="61" y="93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60" y="93"/>
                    <a:pt x="59" y="93"/>
                    <a:pt x="58" y="93"/>
                  </a:cubicBezTo>
                  <a:cubicBezTo>
                    <a:pt x="58" y="93"/>
                    <a:pt x="57" y="93"/>
                    <a:pt x="57" y="93"/>
                  </a:cubicBezTo>
                  <a:cubicBezTo>
                    <a:pt x="56" y="93"/>
                    <a:pt x="56" y="94"/>
                    <a:pt x="55" y="94"/>
                  </a:cubicBezTo>
                  <a:cubicBezTo>
                    <a:pt x="55" y="94"/>
                    <a:pt x="54" y="94"/>
                    <a:pt x="54" y="94"/>
                  </a:cubicBezTo>
                  <a:cubicBezTo>
                    <a:pt x="53" y="94"/>
                    <a:pt x="53" y="94"/>
                    <a:pt x="52" y="94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1" y="94"/>
                    <a:pt x="50" y="94"/>
                    <a:pt x="50" y="95"/>
                  </a:cubicBezTo>
                  <a:cubicBezTo>
                    <a:pt x="50" y="95"/>
                    <a:pt x="49" y="95"/>
                    <a:pt x="49" y="95"/>
                  </a:cubicBezTo>
                  <a:cubicBezTo>
                    <a:pt x="49" y="95"/>
                    <a:pt x="48" y="95"/>
                    <a:pt x="47" y="95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6" y="95"/>
                    <a:pt x="46" y="95"/>
                    <a:pt x="45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43" y="96"/>
                    <a:pt x="43" y="96"/>
                    <a:pt x="43" y="96"/>
                  </a:cubicBezTo>
                  <a:cubicBezTo>
                    <a:pt x="43" y="96"/>
                    <a:pt x="42" y="96"/>
                    <a:pt x="42" y="96"/>
                  </a:cubicBezTo>
                  <a:cubicBezTo>
                    <a:pt x="42" y="96"/>
                    <a:pt x="42" y="96"/>
                    <a:pt x="42" y="96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41" y="97"/>
                    <a:pt x="41" y="97"/>
                    <a:pt x="40" y="97"/>
                  </a:cubicBezTo>
                  <a:cubicBezTo>
                    <a:pt x="40" y="97"/>
                    <a:pt x="40" y="97"/>
                    <a:pt x="40" y="97"/>
                  </a:cubicBezTo>
                  <a:cubicBezTo>
                    <a:pt x="40" y="97"/>
                    <a:pt x="39" y="97"/>
                    <a:pt x="39" y="97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9" y="97"/>
                    <a:pt x="39" y="97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38" y="98"/>
                    <a:pt x="38" y="97"/>
                    <a:pt x="39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57" y="93"/>
                    <a:pt x="89" y="88"/>
                    <a:pt x="168" y="83"/>
                  </a:cubicBezTo>
                  <a:cubicBezTo>
                    <a:pt x="171" y="83"/>
                    <a:pt x="182" y="81"/>
                    <a:pt x="185" y="76"/>
                  </a:cubicBezTo>
                  <a:cubicBezTo>
                    <a:pt x="186" y="75"/>
                    <a:pt x="186" y="73"/>
                    <a:pt x="186" y="72"/>
                  </a:cubicBezTo>
                  <a:cubicBezTo>
                    <a:pt x="185" y="70"/>
                    <a:pt x="183" y="66"/>
                    <a:pt x="171" y="66"/>
                  </a:cubicBezTo>
                  <a:cubicBezTo>
                    <a:pt x="170" y="66"/>
                    <a:pt x="168" y="66"/>
                    <a:pt x="167" y="66"/>
                  </a:cubicBezTo>
                  <a:cubicBezTo>
                    <a:pt x="165" y="66"/>
                    <a:pt x="162" y="66"/>
                    <a:pt x="157" y="67"/>
                  </a:cubicBezTo>
                  <a:cubicBezTo>
                    <a:pt x="103" y="70"/>
                    <a:pt x="39" y="75"/>
                    <a:pt x="21" y="87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8" y="91"/>
                    <a:pt x="16" y="94"/>
                    <a:pt x="16" y="101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" y="96"/>
                    <a:pt x="1" y="96"/>
                    <a:pt x="1" y="96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369" y="81"/>
                    <a:pt x="369" y="81"/>
                    <a:pt x="369" y="81"/>
                  </a:cubicBezTo>
                  <a:cubicBezTo>
                    <a:pt x="370" y="81"/>
                    <a:pt x="370" y="81"/>
                    <a:pt x="370" y="81"/>
                  </a:cubicBezTo>
                  <a:cubicBezTo>
                    <a:pt x="370" y="81"/>
                    <a:pt x="370" y="81"/>
                    <a:pt x="370" y="81"/>
                  </a:cubicBezTo>
                  <a:cubicBezTo>
                    <a:pt x="371" y="82"/>
                    <a:pt x="371" y="82"/>
                    <a:pt x="371" y="82"/>
                  </a:cubicBezTo>
                  <a:cubicBezTo>
                    <a:pt x="370" y="82"/>
                    <a:pt x="370" y="82"/>
                    <a:pt x="370" y="82"/>
                  </a:cubicBezTo>
                  <a:cubicBezTo>
                    <a:pt x="370" y="98"/>
                    <a:pt x="370" y="98"/>
                    <a:pt x="370" y="98"/>
                  </a:cubicBezTo>
                  <a:cubicBezTo>
                    <a:pt x="369" y="98"/>
                    <a:pt x="369" y="98"/>
                    <a:pt x="369" y="98"/>
                  </a:cubicBezTo>
                  <a:cubicBezTo>
                    <a:pt x="185" y="190"/>
                    <a:pt x="185" y="190"/>
                    <a:pt x="185" y="190"/>
                  </a:cubicBezTo>
                  <a:cubicBezTo>
                    <a:pt x="186" y="191"/>
                    <a:pt x="186" y="191"/>
                    <a:pt x="186" y="191"/>
                  </a:cubicBezTo>
                  <a:cubicBezTo>
                    <a:pt x="294" y="136"/>
                    <a:pt x="294" y="136"/>
                    <a:pt x="294" y="136"/>
                  </a:cubicBezTo>
                  <a:cubicBezTo>
                    <a:pt x="294" y="136"/>
                    <a:pt x="294" y="136"/>
                    <a:pt x="294" y="136"/>
                  </a:cubicBezTo>
                  <a:cubicBezTo>
                    <a:pt x="296" y="136"/>
                    <a:pt x="296" y="136"/>
                    <a:pt x="296" y="136"/>
                  </a:cubicBezTo>
                  <a:cubicBezTo>
                    <a:pt x="371" y="98"/>
                    <a:pt x="371" y="98"/>
                    <a:pt x="371" y="98"/>
                  </a:cubicBezTo>
                  <a:cubicBezTo>
                    <a:pt x="371" y="81"/>
                    <a:pt x="371" y="81"/>
                    <a:pt x="371" y="81"/>
                  </a:cubicBezTo>
                  <a:cubicBezTo>
                    <a:pt x="186" y="0"/>
                    <a:pt x="186" y="0"/>
                    <a:pt x="186" y="0"/>
                  </a:cubicBezTo>
                  <a:lnTo>
                    <a:pt x="0" y="78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560"/>
            <p:cNvSpPr>
              <a:spLocks/>
            </p:cNvSpPr>
            <p:nvPr/>
          </p:nvSpPr>
          <p:spPr bwMode="gray">
            <a:xfrm>
              <a:off x="2189164" y="5862634"/>
              <a:ext cx="4763" cy="7937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1 h 2"/>
                <a:gd name="T4" fmla="*/ 1 w 1"/>
                <a:gd name="T5" fmla="*/ 1 h 2"/>
                <a:gd name="T6" fmla="*/ 1 w 1"/>
                <a:gd name="T7" fmla="*/ 1 h 2"/>
                <a:gd name="T8" fmla="*/ 0 w 1"/>
                <a:gd name="T9" fmla="*/ 2 h 2"/>
                <a:gd name="T10" fmla="*/ 0 w 1"/>
                <a:gd name="T11" fmla="*/ 2 h 2"/>
                <a:gd name="T12" fmla="*/ 1 w 1"/>
                <a:gd name="T13" fmla="*/ 0 h 2"/>
                <a:gd name="T14" fmla="*/ 1 w 1"/>
                <a:gd name="T15" fmla="*/ 0 h 2"/>
                <a:gd name="T16" fmla="*/ 1 w 1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561"/>
            <p:cNvSpPr>
              <a:spLocks/>
            </p:cNvSpPr>
            <p:nvPr/>
          </p:nvSpPr>
          <p:spPr bwMode="gray">
            <a:xfrm>
              <a:off x="2347914" y="6016622"/>
              <a:ext cx="817563" cy="428625"/>
            </a:xfrm>
            <a:custGeom>
              <a:avLst/>
              <a:gdLst>
                <a:gd name="T0" fmla="*/ 218 w 218"/>
                <a:gd name="T1" fmla="*/ 0 h 114"/>
                <a:gd name="T2" fmla="*/ 217 w 218"/>
                <a:gd name="T3" fmla="*/ 0 h 114"/>
                <a:gd name="T4" fmla="*/ 217 w 218"/>
                <a:gd name="T5" fmla="*/ 60 h 114"/>
                <a:gd name="T6" fmla="*/ 114 w 218"/>
                <a:gd name="T7" fmla="*/ 109 h 114"/>
                <a:gd name="T8" fmla="*/ 109 w 218"/>
                <a:gd name="T9" fmla="*/ 108 h 114"/>
                <a:gd name="T10" fmla="*/ 98 w 218"/>
                <a:gd name="T11" fmla="*/ 109 h 114"/>
                <a:gd name="T12" fmla="*/ 1 w 218"/>
                <a:gd name="T13" fmla="*/ 60 h 114"/>
                <a:gd name="T14" fmla="*/ 1 w 218"/>
                <a:gd name="T15" fmla="*/ 59 h 114"/>
                <a:gd name="T16" fmla="*/ 1 w 218"/>
                <a:gd name="T17" fmla="*/ 0 h 114"/>
                <a:gd name="T18" fmla="*/ 0 w 218"/>
                <a:gd name="T19" fmla="*/ 0 h 114"/>
                <a:gd name="T20" fmla="*/ 0 w 218"/>
                <a:gd name="T21" fmla="*/ 59 h 114"/>
                <a:gd name="T22" fmla="*/ 109 w 218"/>
                <a:gd name="T23" fmla="*/ 109 h 114"/>
                <a:gd name="T24" fmla="*/ 218 w 218"/>
                <a:gd name="T25" fmla="*/ 60 h 114"/>
                <a:gd name="T26" fmla="*/ 218 w 218"/>
                <a:gd name="T2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" h="114">
                  <a:moveTo>
                    <a:pt x="218" y="0"/>
                  </a:moveTo>
                  <a:cubicBezTo>
                    <a:pt x="217" y="0"/>
                    <a:pt x="217" y="0"/>
                    <a:pt x="217" y="0"/>
                  </a:cubicBezTo>
                  <a:cubicBezTo>
                    <a:pt x="217" y="60"/>
                    <a:pt x="217" y="60"/>
                    <a:pt x="217" y="60"/>
                  </a:cubicBezTo>
                  <a:cubicBezTo>
                    <a:pt x="207" y="105"/>
                    <a:pt x="135" y="109"/>
                    <a:pt x="114" y="109"/>
                  </a:cubicBezTo>
                  <a:cubicBezTo>
                    <a:pt x="111" y="109"/>
                    <a:pt x="109" y="108"/>
                    <a:pt x="109" y="108"/>
                  </a:cubicBezTo>
                  <a:cubicBezTo>
                    <a:pt x="105" y="109"/>
                    <a:pt x="101" y="109"/>
                    <a:pt x="98" y="109"/>
                  </a:cubicBezTo>
                  <a:cubicBezTo>
                    <a:pt x="12" y="109"/>
                    <a:pt x="2" y="65"/>
                    <a:pt x="1" y="60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1"/>
                    <a:pt x="5" y="114"/>
                    <a:pt x="109" y="109"/>
                  </a:cubicBezTo>
                  <a:cubicBezTo>
                    <a:pt x="114" y="109"/>
                    <a:pt x="205" y="112"/>
                    <a:pt x="218" y="60"/>
                  </a:cubicBezTo>
                  <a:lnTo>
                    <a:pt x="218" y="0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Freeform 562"/>
            <p:cNvSpPr>
              <a:spLocks noEditPoints="1"/>
            </p:cNvSpPr>
            <p:nvPr/>
          </p:nvSpPr>
          <p:spPr bwMode="gray">
            <a:xfrm>
              <a:off x="2043114" y="5480048"/>
              <a:ext cx="1422401" cy="990599"/>
            </a:xfrm>
            <a:custGeom>
              <a:avLst/>
              <a:gdLst>
                <a:gd name="T0" fmla="*/ 15 w 379"/>
                <a:gd name="T1" fmla="*/ 111 h 264"/>
                <a:gd name="T2" fmla="*/ 13 w 379"/>
                <a:gd name="T3" fmla="*/ 132 h 264"/>
                <a:gd name="T4" fmla="*/ 29 w 379"/>
                <a:gd name="T5" fmla="*/ 263 h 264"/>
                <a:gd name="T6" fmla="*/ 47 w 379"/>
                <a:gd name="T7" fmla="*/ 149 h 264"/>
                <a:gd name="T8" fmla="*/ 49 w 379"/>
                <a:gd name="T9" fmla="*/ 133 h 264"/>
                <a:gd name="T10" fmla="*/ 43 w 379"/>
                <a:gd name="T11" fmla="*/ 125 h 264"/>
                <a:gd name="T12" fmla="*/ 196 w 379"/>
                <a:gd name="T13" fmla="*/ 256 h 264"/>
                <a:gd name="T14" fmla="*/ 379 w 379"/>
                <a:gd name="T15" fmla="*/ 82 h 264"/>
                <a:gd name="T16" fmla="*/ 81 w 379"/>
                <a:gd name="T17" fmla="*/ 143 h 264"/>
                <a:gd name="T18" fmla="*/ 190 w 379"/>
                <a:gd name="T19" fmla="*/ 251 h 264"/>
                <a:gd name="T20" fmla="*/ 299 w 379"/>
                <a:gd name="T21" fmla="*/ 203 h 264"/>
                <a:gd name="T22" fmla="*/ 42 w 379"/>
                <a:gd name="T23" fmla="*/ 144 h 264"/>
                <a:gd name="T24" fmla="*/ 30 w 379"/>
                <a:gd name="T25" fmla="*/ 141 h 264"/>
                <a:gd name="T26" fmla="*/ 21 w 379"/>
                <a:gd name="T27" fmla="*/ 151 h 264"/>
                <a:gd name="T28" fmla="*/ 45 w 379"/>
                <a:gd name="T29" fmla="*/ 252 h 264"/>
                <a:gd name="T30" fmla="*/ 86 w 379"/>
                <a:gd name="T31" fmla="*/ 147 h 264"/>
                <a:gd name="T32" fmla="*/ 195 w 379"/>
                <a:gd name="T33" fmla="*/ 248 h 264"/>
                <a:gd name="T34" fmla="*/ 298 w 379"/>
                <a:gd name="T35" fmla="*/ 140 h 264"/>
                <a:gd name="T36" fmla="*/ 374 w 379"/>
                <a:gd name="T37" fmla="*/ 86 h 264"/>
                <a:gd name="T38" fmla="*/ 190 w 379"/>
                <a:gd name="T39" fmla="*/ 5 h 264"/>
                <a:gd name="T40" fmla="*/ 5 w 379"/>
                <a:gd name="T41" fmla="*/ 82 h 264"/>
                <a:gd name="T42" fmla="*/ 24 w 379"/>
                <a:gd name="T43" fmla="*/ 92 h 264"/>
                <a:gd name="T44" fmla="*/ 175 w 379"/>
                <a:gd name="T45" fmla="*/ 70 h 264"/>
                <a:gd name="T46" fmla="*/ 42 w 379"/>
                <a:gd name="T47" fmla="*/ 101 h 264"/>
                <a:gd name="T48" fmla="*/ 42 w 379"/>
                <a:gd name="T49" fmla="*/ 101 h 264"/>
                <a:gd name="T50" fmla="*/ 45 w 379"/>
                <a:gd name="T51" fmla="*/ 100 h 264"/>
                <a:gd name="T52" fmla="*/ 49 w 379"/>
                <a:gd name="T53" fmla="*/ 99 h 264"/>
                <a:gd name="T54" fmla="*/ 54 w 379"/>
                <a:gd name="T55" fmla="*/ 99 h 264"/>
                <a:gd name="T56" fmla="*/ 61 w 379"/>
                <a:gd name="T57" fmla="*/ 97 h 264"/>
                <a:gd name="T58" fmla="*/ 77 w 379"/>
                <a:gd name="T59" fmla="*/ 95 h 264"/>
                <a:gd name="T60" fmla="*/ 91 w 379"/>
                <a:gd name="T61" fmla="*/ 93 h 264"/>
                <a:gd name="T62" fmla="*/ 104 w 379"/>
                <a:gd name="T63" fmla="*/ 92 h 264"/>
                <a:gd name="T64" fmla="*/ 133 w 379"/>
                <a:gd name="T65" fmla="*/ 90 h 264"/>
                <a:gd name="T66" fmla="*/ 153 w 379"/>
                <a:gd name="T67" fmla="*/ 88 h 264"/>
                <a:gd name="T68" fmla="*/ 190 w 379"/>
                <a:gd name="T69" fmla="*/ 78 h 264"/>
                <a:gd name="T70" fmla="*/ 25 w 379"/>
                <a:gd name="T71" fmla="*/ 91 h 264"/>
                <a:gd name="T72" fmla="*/ 39 w 379"/>
                <a:gd name="T73" fmla="*/ 128 h 264"/>
                <a:gd name="T74" fmla="*/ 39 w 379"/>
                <a:gd name="T75" fmla="*/ 118 h 264"/>
                <a:gd name="T76" fmla="*/ 39 w 379"/>
                <a:gd name="T77" fmla="*/ 112 h 264"/>
                <a:gd name="T78" fmla="*/ 39 w 379"/>
                <a:gd name="T79" fmla="*/ 117 h 264"/>
                <a:gd name="T80" fmla="*/ 88 w 379"/>
                <a:gd name="T81" fmla="*/ 143 h 264"/>
                <a:gd name="T82" fmla="*/ 39 w 379"/>
                <a:gd name="T83" fmla="*/ 129 h 264"/>
                <a:gd name="T84" fmla="*/ 35 w 379"/>
                <a:gd name="T85" fmla="*/ 136 h 264"/>
                <a:gd name="T86" fmla="*/ 21 w 379"/>
                <a:gd name="T87" fmla="*/ 132 h 264"/>
                <a:gd name="T88" fmla="*/ 19 w 379"/>
                <a:gd name="T89" fmla="*/ 110 h 264"/>
                <a:gd name="T90" fmla="*/ 375 w 379"/>
                <a:gd name="T91" fmla="*/ 85 h 264"/>
                <a:gd name="T92" fmla="*/ 30 w 379"/>
                <a:gd name="T93" fmla="*/ 133 h 264"/>
                <a:gd name="T94" fmla="*/ 27 w 379"/>
                <a:gd name="T95" fmla="*/ 95 h 264"/>
                <a:gd name="T96" fmla="*/ 186 w 379"/>
                <a:gd name="T97" fmla="*/ 78 h 264"/>
                <a:gd name="T98" fmla="*/ 43 w 379"/>
                <a:gd name="T99" fmla="*/ 105 h 264"/>
                <a:gd name="T100" fmla="*/ 43 w 379"/>
                <a:gd name="T101" fmla="*/ 109 h 264"/>
                <a:gd name="T102" fmla="*/ 40 w 379"/>
                <a:gd name="T103" fmla="*/ 103 h 264"/>
                <a:gd name="T104" fmla="*/ 18 w 379"/>
                <a:gd name="T105" fmla="*/ 93 h 264"/>
                <a:gd name="T106" fmla="*/ 370 w 379"/>
                <a:gd name="T107" fmla="*/ 91 h 264"/>
                <a:gd name="T108" fmla="*/ 172 w 379"/>
                <a:gd name="T109" fmla="*/ 91 h 264"/>
                <a:gd name="T110" fmla="*/ 161 w 379"/>
                <a:gd name="T111" fmla="*/ 67 h 264"/>
                <a:gd name="T112" fmla="*/ 190 w 379"/>
                <a:gd name="T113" fmla="*/ 17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9" h="264">
                  <a:moveTo>
                    <a:pt x="190" y="0"/>
                  </a:moveTo>
                  <a:cubicBezTo>
                    <a:pt x="3" y="78"/>
                    <a:pt x="3" y="78"/>
                    <a:pt x="3" y="7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5"/>
                    <a:pt x="16" y="120"/>
                    <a:pt x="16" y="125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16" y="125"/>
                    <a:pt x="17" y="128"/>
                    <a:pt x="17" y="130"/>
                  </a:cubicBezTo>
                  <a:cubicBezTo>
                    <a:pt x="15" y="130"/>
                    <a:pt x="14" y="131"/>
                    <a:pt x="13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48"/>
                    <a:pt x="13" y="148"/>
                    <a:pt x="13" y="148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4" y="159"/>
                    <a:pt x="12" y="217"/>
                    <a:pt x="9" y="229"/>
                  </a:cubicBezTo>
                  <a:cubicBezTo>
                    <a:pt x="7" y="239"/>
                    <a:pt x="5" y="248"/>
                    <a:pt x="10" y="255"/>
                  </a:cubicBezTo>
                  <a:cubicBezTo>
                    <a:pt x="14" y="260"/>
                    <a:pt x="20" y="263"/>
                    <a:pt x="29" y="263"/>
                  </a:cubicBezTo>
                  <a:cubicBezTo>
                    <a:pt x="30" y="263"/>
                    <a:pt x="31" y="264"/>
                    <a:pt x="33" y="264"/>
                  </a:cubicBezTo>
                  <a:cubicBezTo>
                    <a:pt x="33" y="264"/>
                    <a:pt x="33" y="264"/>
                    <a:pt x="33" y="264"/>
                  </a:cubicBezTo>
                  <a:cubicBezTo>
                    <a:pt x="37" y="264"/>
                    <a:pt x="44" y="263"/>
                    <a:pt x="50" y="257"/>
                  </a:cubicBezTo>
                  <a:cubicBezTo>
                    <a:pt x="55" y="251"/>
                    <a:pt x="57" y="242"/>
                    <a:pt x="55" y="229"/>
                  </a:cubicBezTo>
                  <a:cubicBezTo>
                    <a:pt x="54" y="224"/>
                    <a:pt x="47" y="173"/>
                    <a:pt x="47" y="149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9" y="135"/>
                    <a:pt x="49" y="135"/>
                    <a:pt x="49" y="135"/>
                  </a:cubicBezTo>
                  <a:cubicBezTo>
                    <a:pt x="49" y="134"/>
                    <a:pt x="49" y="134"/>
                    <a:pt x="49" y="134"/>
                  </a:cubicBezTo>
                  <a:cubicBezTo>
                    <a:pt x="49" y="134"/>
                    <a:pt x="49" y="134"/>
                    <a:pt x="49" y="134"/>
                  </a:cubicBezTo>
                  <a:cubicBezTo>
                    <a:pt x="49" y="134"/>
                    <a:pt x="49" y="133"/>
                    <a:pt x="49" y="133"/>
                  </a:cubicBezTo>
                  <a:cubicBezTo>
                    <a:pt x="49" y="133"/>
                    <a:pt x="49" y="133"/>
                    <a:pt x="49" y="133"/>
                  </a:cubicBezTo>
                  <a:cubicBezTo>
                    <a:pt x="48" y="133"/>
                    <a:pt x="48" y="133"/>
                    <a:pt x="48" y="133"/>
                  </a:cubicBezTo>
                  <a:cubicBezTo>
                    <a:pt x="48" y="131"/>
                    <a:pt x="46" y="130"/>
                    <a:pt x="43" y="129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3" y="127"/>
                    <a:pt x="43" y="126"/>
                    <a:pt x="43" y="125"/>
                  </a:cubicBezTo>
                  <a:cubicBezTo>
                    <a:pt x="77" y="142"/>
                    <a:pt x="77" y="142"/>
                    <a:pt x="77" y="142"/>
                  </a:cubicBezTo>
                  <a:cubicBezTo>
                    <a:pt x="77" y="202"/>
                    <a:pt x="77" y="202"/>
                    <a:pt x="77" y="202"/>
                  </a:cubicBezTo>
                  <a:cubicBezTo>
                    <a:pt x="77" y="204"/>
                    <a:pt x="82" y="256"/>
                    <a:pt x="178" y="256"/>
                  </a:cubicBezTo>
                  <a:cubicBezTo>
                    <a:pt x="182" y="256"/>
                    <a:pt x="186" y="256"/>
                    <a:pt x="190" y="256"/>
                  </a:cubicBezTo>
                  <a:cubicBezTo>
                    <a:pt x="191" y="256"/>
                    <a:pt x="193" y="256"/>
                    <a:pt x="196" y="256"/>
                  </a:cubicBezTo>
                  <a:cubicBezTo>
                    <a:pt x="196" y="256"/>
                    <a:pt x="196" y="256"/>
                    <a:pt x="196" y="256"/>
                  </a:cubicBezTo>
                  <a:cubicBezTo>
                    <a:pt x="218" y="256"/>
                    <a:pt x="291" y="252"/>
                    <a:pt x="303" y="203"/>
                  </a:cubicBezTo>
                  <a:cubicBezTo>
                    <a:pt x="303" y="143"/>
                    <a:pt x="303" y="143"/>
                    <a:pt x="303" y="143"/>
                  </a:cubicBezTo>
                  <a:cubicBezTo>
                    <a:pt x="379" y="104"/>
                    <a:pt x="379" y="104"/>
                    <a:pt x="379" y="104"/>
                  </a:cubicBezTo>
                  <a:cubicBezTo>
                    <a:pt x="379" y="82"/>
                    <a:pt x="379" y="82"/>
                    <a:pt x="379" y="82"/>
                  </a:cubicBezTo>
                  <a:cubicBezTo>
                    <a:pt x="192" y="0"/>
                    <a:pt x="192" y="0"/>
                    <a:pt x="192" y="0"/>
                  </a:cubicBezTo>
                  <a:lnTo>
                    <a:pt x="190" y="0"/>
                  </a:lnTo>
                  <a:close/>
                  <a:moveTo>
                    <a:pt x="190" y="252"/>
                  </a:moveTo>
                  <a:cubicBezTo>
                    <a:pt x="86" y="257"/>
                    <a:pt x="81" y="204"/>
                    <a:pt x="81" y="202"/>
                  </a:cubicBezTo>
                  <a:cubicBezTo>
                    <a:pt x="81" y="143"/>
                    <a:pt x="81" y="143"/>
                    <a:pt x="81" y="143"/>
                  </a:cubicBezTo>
                  <a:cubicBezTo>
                    <a:pt x="82" y="143"/>
                    <a:pt x="82" y="143"/>
                    <a:pt x="82" y="143"/>
                  </a:cubicBezTo>
                  <a:cubicBezTo>
                    <a:pt x="82" y="202"/>
                    <a:pt x="82" y="202"/>
                    <a:pt x="82" y="202"/>
                  </a:cubicBezTo>
                  <a:cubicBezTo>
                    <a:pt x="82" y="202"/>
                    <a:pt x="82" y="202"/>
                    <a:pt x="82" y="203"/>
                  </a:cubicBezTo>
                  <a:cubicBezTo>
                    <a:pt x="83" y="208"/>
                    <a:pt x="93" y="252"/>
                    <a:pt x="179" y="252"/>
                  </a:cubicBezTo>
                  <a:cubicBezTo>
                    <a:pt x="182" y="252"/>
                    <a:pt x="186" y="252"/>
                    <a:pt x="190" y="251"/>
                  </a:cubicBezTo>
                  <a:cubicBezTo>
                    <a:pt x="190" y="251"/>
                    <a:pt x="192" y="252"/>
                    <a:pt x="195" y="252"/>
                  </a:cubicBezTo>
                  <a:cubicBezTo>
                    <a:pt x="216" y="252"/>
                    <a:pt x="288" y="248"/>
                    <a:pt x="298" y="203"/>
                  </a:cubicBezTo>
                  <a:cubicBezTo>
                    <a:pt x="298" y="143"/>
                    <a:pt x="298" y="143"/>
                    <a:pt x="298" y="143"/>
                  </a:cubicBezTo>
                  <a:cubicBezTo>
                    <a:pt x="299" y="143"/>
                    <a:pt x="299" y="143"/>
                    <a:pt x="299" y="143"/>
                  </a:cubicBezTo>
                  <a:cubicBezTo>
                    <a:pt x="299" y="203"/>
                    <a:pt x="299" y="203"/>
                    <a:pt x="299" y="203"/>
                  </a:cubicBezTo>
                  <a:cubicBezTo>
                    <a:pt x="286" y="255"/>
                    <a:pt x="195" y="252"/>
                    <a:pt x="190" y="252"/>
                  </a:cubicBezTo>
                  <a:close/>
                  <a:moveTo>
                    <a:pt x="30" y="141"/>
                  </a:moveTo>
                  <a:cubicBezTo>
                    <a:pt x="31" y="141"/>
                    <a:pt x="32" y="141"/>
                    <a:pt x="33" y="141"/>
                  </a:cubicBezTo>
                  <a:cubicBezTo>
                    <a:pt x="36" y="140"/>
                    <a:pt x="39" y="140"/>
                    <a:pt x="42" y="139"/>
                  </a:cubicBezTo>
                  <a:cubicBezTo>
                    <a:pt x="42" y="144"/>
                    <a:pt x="42" y="144"/>
                    <a:pt x="42" y="144"/>
                  </a:cubicBezTo>
                  <a:cubicBezTo>
                    <a:pt x="40" y="145"/>
                    <a:pt x="35" y="146"/>
                    <a:pt x="31" y="146"/>
                  </a:cubicBezTo>
                  <a:cubicBezTo>
                    <a:pt x="26" y="146"/>
                    <a:pt x="22" y="145"/>
                    <a:pt x="19" y="144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21" y="140"/>
                    <a:pt x="23" y="140"/>
                    <a:pt x="26" y="140"/>
                  </a:cubicBezTo>
                  <a:cubicBezTo>
                    <a:pt x="27" y="141"/>
                    <a:pt x="29" y="141"/>
                    <a:pt x="30" y="141"/>
                  </a:cubicBezTo>
                  <a:close/>
                  <a:moveTo>
                    <a:pt x="33" y="256"/>
                  </a:moveTo>
                  <a:cubicBezTo>
                    <a:pt x="32" y="256"/>
                    <a:pt x="31" y="256"/>
                    <a:pt x="30" y="256"/>
                  </a:cubicBezTo>
                  <a:cubicBezTo>
                    <a:pt x="23" y="256"/>
                    <a:pt x="18" y="254"/>
                    <a:pt x="16" y="251"/>
                  </a:cubicBezTo>
                  <a:cubicBezTo>
                    <a:pt x="13" y="246"/>
                    <a:pt x="14" y="238"/>
                    <a:pt x="16" y="231"/>
                  </a:cubicBezTo>
                  <a:cubicBezTo>
                    <a:pt x="19" y="219"/>
                    <a:pt x="20" y="167"/>
                    <a:pt x="21" y="151"/>
                  </a:cubicBezTo>
                  <a:cubicBezTo>
                    <a:pt x="24" y="152"/>
                    <a:pt x="27" y="152"/>
                    <a:pt x="31" y="152"/>
                  </a:cubicBezTo>
                  <a:cubicBezTo>
                    <a:pt x="34" y="152"/>
                    <a:pt x="37" y="152"/>
                    <a:pt x="40" y="151"/>
                  </a:cubicBezTo>
                  <a:cubicBezTo>
                    <a:pt x="41" y="176"/>
                    <a:pt x="47" y="224"/>
                    <a:pt x="48" y="230"/>
                  </a:cubicBezTo>
                  <a:cubicBezTo>
                    <a:pt x="48" y="230"/>
                    <a:pt x="48" y="231"/>
                    <a:pt x="48" y="231"/>
                  </a:cubicBezTo>
                  <a:cubicBezTo>
                    <a:pt x="50" y="241"/>
                    <a:pt x="49" y="248"/>
                    <a:pt x="45" y="252"/>
                  </a:cubicBezTo>
                  <a:cubicBezTo>
                    <a:pt x="41" y="256"/>
                    <a:pt x="36" y="256"/>
                    <a:pt x="33" y="256"/>
                  </a:cubicBezTo>
                  <a:close/>
                  <a:moveTo>
                    <a:pt x="190" y="247"/>
                  </a:moveTo>
                  <a:cubicBezTo>
                    <a:pt x="156" y="249"/>
                    <a:pt x="134" y="244"/>
                    <a:pt x="118" y="237"/>
                  </a:cubicBezTo>
                  <a:cubicBezTo>
                    <a:pt x="89" y="223"/>
                    <a:pt x="86" y="202"/>
                    <a:pt x="86" y="202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188" y="198"/>
                    <a:pt x="188" y="198"/>
                    <a:pt x="188" y="198"/>
                  </a:cubicBezTo>
                  <a:cubicBezTo>
                    <a:pt x="190" y="199"/>
                    <a:pt x="190" y="199"/>
                    <a:pt x="190" y="199"/>
                  </a:cubicBezTo>
                  <a:cubicBezTo>
                    <a:pt x="294" y="147"/>
                    <a:pt x="294" y="147"/>
                    <a:pt x="294" y="147"/>
                  </a:cubicBezTo>
                  <a:cubicBezTo>
                    <a:pt x="294" y="202"/>
                    <a:pt x="294" y="202"/>
                    <a:pt x="294" y="202"/>
                  </a:cubicBezTo>
                  <a:cubicBezTo>
                    <a:pt x="284" y="244"/>
                    <a:pt x="216" y="248"/>
                    <a:pt x="195" y="248"/>
                  </a:cubicBezTo>
                  <a:cubicBezTo>
                    <a:pt x="192" y="248"/>
                    <a:pt x="190" y="247"/>
                    <a:pt x="190" y="247"/>
                  </a:cubicBezTo>
                  <a:close/>
                  <a:moveTo>
                    <a:pt x="375" y="102"/>
                  </a:moveTo>
                  <a:cubicBezTo>
                    <a:pt x="300" y="140"/>
                    <a:pt x="300" y="140"/>
                    <a:pt x="300" y="140"/>
                  </a:cubicBezTo>
                  <a:cubicBezTo>
                    <a:pt x="298" y="140"/>
                    <a:pt x="298" y="140"/>
                    <a:pt x="298" y="140"/>
                  </a:cubicBezTo>
                  <a:cubicBezTo>
                    <a:pt x="298" y="140"/>
                    <a:pt x="298" y="140"/>
                    <a:pt x="298" y="140"/>
                  </a:cubicBezTo>
                  <a:cubicBezTo>
                    <a:pt x="190" y="195"/>
                    <a:pt x="190" y="195"/>
                    <a:pt x="190" y="195"/>
                  </a:cubicBezTo>
                  <a:cubicBezTo>
                    <a:pt x="189" y="194"/>
                    <a:pt x="189" y="194"/>
                    <a:pt x="189" y="194"/>
                  </a:cubicBezTo>
                  <a:cubicBezTo>
                    <a:pt x="373" y="102"/>
                    <a:pt x="373" y="102"/>
                    <a:pt x="373" y="102"/>
                  </a:cubicBezTo>
                  <a:cubicBezTo>
                    <a:pt x="374" y="102"/>
                    <a:pt x="374" y="102"/>
                    <a:pt x="374" y="102"/>
                  </a:cubicBezTo>
                  <a:cubicBezTo>
                    <a:pt x="374" y="86"/>
                    <a:pt x="374" y="86"/>
                    <a:pt x="374" y="86"/>
                  </a:cubicBezTo>
                  <a:cubicBezTo>
                    <a:pt x="375" y="86"/>
                    <a:pt x="375" y="86"/>
                    <a:pt x="375" y="86"/>
                  </a:cubicBezTo>
                  <a:cubicBezTo>
                    <a:pt x="374" y="85"/>
                    <a:pt x="374" y="85"/>
                    <a:pt x="374" y="85"/>
                  </a:cubicBezTo>
                  <a:cubicBezTo>
                    <a:pt x="374" y="85"/>
                    <a:pt x="374" y="85"/>
                    <a:pt x="374" y="85"/>
                  </a:cubicBezTo>
                  <a:cubicBezTo>
                    <a:pt x="373" y="85"/>
                    <a:pt x="373" y="85"/>
                    <a:pt x="373" y="85"/>
                  </a:cubicBezTo>
                  <a:cubicBezTo>
                    <a:pt x="190" y="5"/>
                    <a:pt x="190" y="5"/>
                    <a:pt x="190" y="5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0" y="98"/>
                    <a:pt x="22" y="95"/>
                    <a:pt x="23" y="93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5" y="91"/>
                    <a:pt x="25" y="91"/>
                    <a:pt x="25" y="91"/>
                  </a:cubicBezTo>
                  <a:cubicBezTo>
                    <a:pt x="43" y="79"/>
                    <a:pt x="107" y="74"/>
                    <a:pt x="161" y="71"/>
                  </a:cubicBezTo>
                  <a:cubicBezTo>
                    <a:pt x="166" y="70"/>
                    <a:pt x="169" y="70"/>
                    <a:pt x="171" y="70"/>
                  </a:cubicBezTo>
                  <a:cubicBezTo>
                    <a:pt x="172" y="70"/>
                    <a:pt x="174" y="70"/>
                    <a:pt x="175" y="70"/>
                  </a:cubicBezTo>
                  <a:cubicBezTo>
                    <a:pt x="187" y="70"/>
                    <a:pt x="189" y="74"/>
                    <a:pt x="190" y="76"/>
                  </a:cubicBezTo>
                  <a:cubicBezTo>
                    <a:pt x="190" y="77"/>
                    <a:pt x="190" y="79"/>
                    <a:pt x="189" y="80"/>
                  </a:cubicBezTo>
                  <a:cubicBezTo>
                    <a:pt x="186" y="85"/>
                    <a:pt x="175" y="87"/>
                    <a:pt x="172" y="87"/>
                  </a:cubicBezTo>
                  <a:cubicBezTo>
                    <a:pt x="93" y="92"/>
                    <a:pt x="61" y="97"/>
                    <a:pt x="48" y="100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2" y="101"/>
                    <a:pt x="42" y="102"/>
                    <a:pt x="42" y="102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2" y="101"/>
                    <a:pt x="42" y="101"/>
                    <a:pt x="42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101"/>
                    <a:pt x="44" y="101"/>
                    <a:pt x="44" y="101"/>
                  </a:cubicBezTo>
                  <a:cubicBezTo>
                    <a:pt x="44" y="101"/>
                    <a:pt x="44" y="101"/>
                    <a:pt x="44" y="101"/>
                  </a:cubicBezTo>
                  <a:cubicBezTo>
                    <a:pt x="45" y="101"/>
                    <a:pt x="45" y="101"/>
                    <a:pt x="45" y="100"/>
                  </a:cubicBezTo>
                  <a:cubicBezTo>
                    <a:pt x="45" y="100"/>
                    <a:pt x="45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8" y="100"/>
                  </a:cubicBezTo>
                  <a:cubicBezTo>
                    <a:pt x="48" y="100"/>
                    <a:pt x="48" y="100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50" y="99"/>
                    <a:pt x="50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2" y="99"/>
                    <a:pt x="53" y="99"/>
                    <a:pt x="53" y="99"/>
                  </a:cubicBezTo>
                  <a:cubicBezTo>
                    <a:pt x="53" y="99"/>
                    <a:pt x="54" y="99"/>
                    <a:pt x="54" y="99"/>
                  </a:cubicBezTo>
                  <a:cubicBezTo>
                    <a:pt x="54" y="98"/>
                    <a:pt x="55" y="98"/>
                    <a:pt x="56" y="98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7" y="98"/>
                    <a:pt x="57" y="98"/>
                    <a:pt x="58" y="98"/>
                  </a:cubicBezTo>
                  <a:cubicBezTo>
                    <a:pt x="58" y="98"/>
                    <a:pt x="59" y="98"/>
                    <a:pt x="59" y="98"/>
                  </a:cubicBezTo>
                  <a:cubicBezTo>
                    <a:pt x="60" y="98"/>
                    <a:pt x="60" y="97"/>
                    <a:pt x="61" y="97"/>
                  </a:cubicBezTo>
                  <a:cubicBezTo>
                    <a:pt x="61" y="97"/>
                    <a:pt x="62" y="97"/>
                    <a:pt x="62" y="97"/>
                  </a:cubicBezTo>
                  <a:cubicBezTo>
                    <a:pt x="63" y="97"/>
                    <a:pt x="64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8" y="96"/>
                    <a:pt x="72" y="96"/>
                    <a:pt x="77" y="95"/>
                  </a:cubicBezTo>
                  <a:cubicBezTo>
                    <a:pt x="77" y="95"/>
                    <a:pt x="77" y="95"/>
                    <a:pt x="77" y="95"/>
                  </a:cubicBezTo>
                  <a:cubicBezTo>
                    <a:pt x="79" y="95"/>
                    <a:pt x="80" y="95"/>
                    <a:pt x="81" y="95"/>
                  </a:cubicBezTo>
                  <a:cubicBezTo>
                    <a:pt x="82" y="95"/>
                    <a:pt x="82" y="94"/>
                    <a:pt x="82" y="94"/>
                  </a:cubicBezTo>
                  <a:cubicBezTo>
                    <a:pt x="83" y="94"/>
                    <a:pt x="85" y="94"/>
                    <a:pt x="86" y="94"/>
                  </a:cubicBezTo>
                  <a:cubicBezTo>
                    <a:pt x="87" y="94"/>
                    <a:pt x="87" y="94"/>
                    <a:pt x="87" y="94"/>
                  </a:cubicBezTo>
                  <a:cubicBezTo>
                    <a:pt x="89" y="94"/>
                    <a:pt x="90" y="94"/>
                    <a:pt x="91" y="93"/>
                  </a:cubicBezTo>
                  <a:cubicBezTo>
                    <a:pt x="92" y="93"/>
                    <a:pt x="92" y="93"/>
                    <a:pt x="93" y="93"/>
                  </a:cubicBezTo>
                  <a:cubicBezTo>
                    <a:pt x="94" y="93"/>
                    <a:pt x="96" y="93"/>
                    <a:pt x="97" y="93"/>
                  </a:cubicBezTo>
                  <a:cubicBezTo>
                    <a:pt x="98" y="93"/>
                    <a:pt x="98" y="93"/>
                    <a:pt x="98" y="93"/>
                  </a:cubicBezTo>
                  <a:cubicBezTo>
                    <a:pt x="100" y="93"/>
                    <a:pt x="102" y="92"/>
                    <a:pt x="104" y="92"/>
                  </a:cubicBezTo>
                  <a:cubicBezTo>
                    <a:pt x="104" y="92"/>
                    <a:pt x="104" y="92"/>
                    <a:pt x="104" y="92"/>
                  </a:cubicBezTo>
                  <a:cubicBezTo>
                    <a:pt x="109" y="92"/>
                    <a:pt x="113" y="91"/>
                    <a:pt x="118" y="91"/>
                  </a:cubicBezTo>
                  <a:cubicBezTo>
                    <a:pt x="118" y="91"/>
                    <a:pt x="119" y="91"/>
                    <a:pt x="119" y="91"/>
                  </a:cubicBezTo>
                  <a:cubicBezTo>
                    <a:pt x="121" y="91"/>
                    <a:pt x="123" y="90"/>
                    <a:pt x="125" y="90"/>
                  </a:cubicBezTo>
                  <a:cubicBezTo>
                    <a:pt x="126" y="90"/>
                    <a:pt x="127" y="90"/>
                    <a:pt x="127" y="90"/>
                  </a:cubicBezTo>
                  <a:cubicBezTo>
                    <a:pt x="129" y="90"/>
                    <a:pt x="131" y="90"/>
                    <a:pt x="133" y="90"/>
                  </a:cubicBezTo>
                  <a:cubicBezTo>
                    <a:pt x="134" y="90"/>
                    <a:pt x="135" y="90"/>
                    <a:pt x="136" y="89"/>
                  </a:cubicBezTo>
                  <a:cubicBezTo>
                    <a:pt x="137" y="89"/>
                    <a:pt x="139" y="89"/>
                    <a:pt x="141" y="89"/>
                  </a:cubicBezTo>
                  <a:cubicBezTo>
                    <a:pt x="142" y="89"/>
                    <a:pt x="143" y="89"/>
                    <a:pt x="144" y="89"/>
                  </a:cubicBezTo>
                  <a:cubicBezTo>
                    <a:pt x="146" y="89"/>
                    <a:pt x="148" y="89"/>
                    <a:pt x="150" y="88"/>
                  </a:cubicBezTo>
                  <a:cubicBezTo>
                    <a:pt x="151" y="88"/>
                    <a:pt x="152" y="88"/>
                    <a:pt x="153" y="88"/>
                  </a:cubicBezTo>
                  <a:cubicBezTo>
                    <a:pt x="155" y="88"/>
                    <a:pt x="157" y="88"/>
                    <a:pt x="159" y="88"/>
                  </a:cubicBezTo>
                  <a:cubicBezTo>
                    <a:pt x="160" y="88"/>
                    <a:pt x="161" y="88"/>
                    <a:pt x="162" y="88"/>
                  </a:cubicBezTo>
                  <a:cubicBezTo>
                    <a:pt x="165" y="87"/>
                    <a:pt x="168" y="87"/>
                    <a:pt x="172" y="87"/>
                  </a:cubicBezTo>
                  <a:cubicBezTo>
                    <a:pt x="174" y="87"/>
                    <a:pt x="186" y="85"/>
                    <a:pt x="189" y="80"/>
                  </a:cubicBezTo>
                  <a:cubicBezTo>
                    <a:pt x="190" y="79"/>
                    <a:pt x="190" y="79"/>
                    <a:pt x="190" y="78"/>
                  </a:cubicBezTo>
                  <a:cubicBezTo>
                    <a:pt x="190" y="77"/>
                    <a:pt x="190" y="76"/>
                    <a:pt x="189" y="76"/>
                  </a:cubicBezTo>
                  <a:cubicBezTo>
                    <a:pt x="189" y="74"/>
                    <a:pt x="187" y="70"/>
                    <a:pt x="175" y="70"/>
                  </a:cubicBezTo>
                  <a:cubicBezTo>
                    <a:pt x="174" y="70"/>
                    <a:pt x="172" y="70"/>
                    <a:pt x="171" y="70"/>
                  </a:cubicBezTo>
                  <a:cubicBezTo>
                    <a:pt x="169" y="71"/>
                    <a:pt x="166" y="71"/>
                    <a:pt x="161" y="71"/>
                  </a:cubicBezTo>
                  <a:cubicBezTo>
                    <a:pt x="129" y="73"/>
                    <a:pt x="45" y="78"/>
                    <a:pt x="25" y="91"/>
                  </a:cubicBezTo>
                  <a:cubicBezTo>
                    <a:pt x="23" y="92"/>
                    <a:pt x="17" y="98"/>
                    <a:pt x="21" y="125"/>
                  </a:cubicBezTo>
                  <a:cubicBezTo>
                    <a:pt x="21" y="125"/>
                    <a:pt x="21" y="129"/>
                    <a:pt x="21" y="130"/>
                  </a:cubicBezTo>
                  <a:cubicBezTo>
                    <a:pt x="21" y="134"/>
                    <a:pt x="25" y="137"/>
                    <a:pt x="30" y="137"/>
                  </a:cubicBezTo>
                  <a:cubicBezTo>
                    <a:pt x="35" y="137"/>
                    <a:pt x="39" y="133"/>
                    <a:pt x="39" y="129"/>
                  </a:cubicBezTo>
                  <a:cubicBezTo>
                    <a:pt x="39" y="128"/>
                    <a:pt x="39" y="128"/>
                    <a:pt x="39" y="128"/>
                  </a:cubicBezTo>
                  <a:cubicBezTo>
                    <a:pt x="39" y="127"/>
                    <a:pt x="39" y="126"/>
                    <a:pt x="39" y="125"/>
                  </a:cubicBezTo>
                  <a:cubicBezTo>
                    <a:pt x="39" y="124"/>
                    <a:pt x="39" y="124"/>
                    <a:pt x="39" y="124"/>
                  </a:cubicBezTo>
                  <a:cubicBezTo>
                    <a:pt x="39" y="123"/>
                    <a:pt x="39" y="122"/>
                    <a:pt x="39" y="121"/>
                  </a:cubicBezTo>
                  <a:cubicBezTo>
                    <a:pt x="39" y="121"/>
                    <a:pt x="39" y="121"/>
                    <a:pt x="39" y="120"/>
                  </a:cubicBezTo>
                  <a:cubicBezTo>
                    <a:pt x="39" y="120"/>
                    <a:pt x="39" y="119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7"/>
                    <a:pt x="39" y="116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39" y="113"/>
                  </a:cubicBezTo>
                  <a:cubicBezTo>
                    <a:pt x="39" y="113"/>
                    <a:pt x="39" y="113"/>
                    <a:pt x="39" y="112"/>
                  </a:cubicBezTo>
                  <a:cubicBezTo>
                    <a:pt x="39" y="112"/>
                    <a:pt x="39" y="112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2"/>
                    <a:pt x="39" y="114"/>
                    <a:pt x="39" y="117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187" y="193"/>
                    <a:pt x="187" y="193"/>
                    <a:pt x="187" y="193"/>
                  </a:cubicBezTo>
                  <a:cubicBezTo>
                    <a:pt x="189" y="194"/>
                    <a:pt x="189" y="194"/>
                    <a:pt x="189" y="194"/>
                  </a:cubicBezTo>
                  <a:cubicBezTo>
                    <a:pt x="189" y="194"/>
                    <a:pt x="189" y="194"/>
                    <a:pt x="189" y="194"/>
                  </a:cubicBezTo>
                  <a:cubicBezTo>
                    <a:pt x="88" y="143"/>
                    <a:pt x="88" y="143"/>
                    <a:pt x="88" y="143"/>
                  </a:cubicBezTo>
                  <a:cubicBezTo>
                    <a:pt x="88" y="143"/>
                    <a:pt x="88" y="143"/>
                    <a:pt x="88" y="143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4"/>
                    <a:pt x="39" y="126"/>
                    <a:pt x="39" y="128"/>
                  </a:cubicBezTo>
                  <a:cubicBezTo>
                    <a:pt x="39" y="129"/>
                    <a:pt x="39" y="129"/>
                    <a:pt x="39" y="129"/>
                  </a:cubicBezTo>
                  <a:cubicBezTo>
                    <a:pt x="39" y="129"/>
                    <a:pt x="39" y="130"/>
                    <a:pt x="39" y="130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38" y="133"/>
                    <a:pt x="38" y="134"/>
                    <a:pt x="37" y="134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4" y="137"/>
                    <a:pt x="33" y="137"/>
                    <a:pt x="32" y="137"/>
                  </a:cubicBezTo>
                  <a:cubicBezTo>
                    <a:pt x="30" y="137"/>
                    <a:pt x="29" y="137"/>
                    <a:pt x="27" y="136"/>
                  </a:cubicBezTo>
                  <a:cubicBezTo>
                    <a:pt x="26" y="136"/>
                    <a:pt x="25" y="136"/>
                    <a:pt x="24" y="136"/>
                  </a:cubicBezTo>
                  <a:cubicBezTo>
                    <a:pt x="22" y="134"/>
                    <a:pt x="22" y="134"/>
                    <a:pt x="22" y="134"/>
                  </a:cubicBezTo>
                  <a:cubicBezTo>
                    <a:pt x="22" y="133"/>
                    <a:pt x="22" y="133"/>
                    <a:pt x="21" y="132"/>
                  </a:cubicBezTo>
                  <a:cubicBezTo>
                    <a:pt x="21" y="132"/>
                    <a:pt x="21" y="132"/>
                    <a:pt x="21" y="132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1" y="130"/>
                    <a:pt x="21" y="130"/>
                    <a:pt x="21" y="130"/>
                  </a:cubicBezTo>
                  <a:cubicBezTo>
                    <a:pt x="21" y="129"/>
                    <a:pt x="20" y="125"/>
                    <a:pt x="20" y="125"/>
                  </a:cubicBezTo>
                  <a:cubicBezTo>
                    <a:pt x="20" y="119"/>
                    <a:pt x="19" y="114"/>
                    <a:pt x="19" y="110"/>
                  </a:cubicBezTo>
                  <a:cubicBezTo>
                    <a:pt x="19" y="109"/>
                    <a:pt x="19" y="109"/>
                    <a:pt x="19" y="109"/>
                  </a:cubicBezTo>
                  <a:cubicBezTo>
                    <a:pt x="4" y="101"/>
                    <a:pt x="4" y="101"/>
                    <a:pt x="4" y="101"/>
                  </a:cubicBezTo>
                  <a:cubicBezTo>
                    <a:pt x="4" y="82"/>
                    <a:pt x="4" y="82"/>
                    <a:pt x="4" y="82"/>
                  </a:cubicBezTo>
                  <a:cubicBezTo>
                    <a:pt x="190" y="4"/>
                    <a:pt x="190" y="4"/>
                    <a:pt x="190" y="4"/>
                  </a:cubicBezTo>
                  <a:cubicBezTo>
                    <a:pt x="375" y="85"/>
                    <a:pt x="375" y="85"/>
                    <a:pt x="375" y="85"/>
                  </a:cubicBezTo>
                  <a:lnTo>
                    <a:pt x="375" y="102"/>
                  </a:lnTo>
                  <a:close/>
                  <a:moveTo>
                    <a:pt x="36" y="102"/>
                  </a:moveTo>
                  <a:cubicBezTo>
                    <a:pt x="35" y="104"/>
                    <a:pt x="35" y="110"/>
                    <a:pt x="35" y="128"/>
                  </a:cubicBezTo>
                  <a:cubicBezTo>
                    <a:pt x="35" y="129"/>
                    <a:pt x="35" y="129"/>
                    <a:pt x="35" y="129"/>
                  </a:cubicBezTo>
                  <a:cubicBezTo>
                    <a:pt x="35" y="131"/>
                    <a:pt x="33" y="133"/>
                    <a:pt x="30" y="133"/>
                  </a:cubicBezTo>
                  <a:cubicBezTo>
                    <a:pt x="28" y="133"/>
                    <a:pt x="25" y="132"/>
                    <a:pt x="25" y="130"/>
                  </a:cubicBezTo>
                  <a:cubicBezTo>
                    <a:pt x="25" y="129"/>
                    <a:pt x="25" y="124"/>
                    <a:pt x="25" y="124"/>
                  </a:cubicBezTo>
                  <a:cubicBezTo>
                    <a:pt x="21" y="99"/>
                    <a:pt x="27" y="95"/>
                    <a:pt x="27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46" y="82"/>
                    <a:pt x="133" y="77"/>
                    <a:pt x="162" y="75"/>
                  </a:cubicBezTo>
                  <a:cubicBezTo>
                    <a:pt x="166" y="75"/>
                    <a:pt x="169" y="75"/>
                    <a:pt x="171" y="74"/>
                  </a:cubicBezTo>
                  <a:cubicBezTo>
                    <a:pt x="182" y="74"/>
                    <a:pt x="185" y="76"/>
                    <a:pt x="186" y="77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4" y="81"/>
                    <a:pt x="176" y="82"/>
                    <a:pt x="171" y="83"/>
                  </a:cubicBezTo>
                  <a:cubicBezTo>
                    <a:pt x="112" y="87"/>
                    <a:pt x="40" y="93"/>
                    <a:pt x="36" y="100"/>
                  </a:cubicBezTo>
                  <a:cubicBezTo>
                    <a:pt x="36" y="102"/>
                    <a:pt x="36" y="102"/>
                    <a:pt x="36" y="102"/>
                  </a:cubicBezTo>
                  <a:close/>
                  <a:moveTo>
                    <a:pt x="43" y="109"/>
                  </a:moveTo>
                  <a:cubicBezTo>
                    <a:pt x="43" y="107"/>
                    <a:pt x="43" y="106"/>
                    <a:pt x="43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185" y="188"/>
                    <a:pt x="185" y="188"/>
                    <a:pt x="185" y="188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3" y="113"/>
                    <a:pt x="43" y="110"/>
                    <a:pt x="43" y="109"/>
                  </a:cubicBezTo>
                  <a:close/>
                  <a:moveTo>
                    <a:pt x="39" y="104"/>
                  </a:moveTo>
                  <a:cubicBezTo>
                    <a:pt x="39" y="104"/>
                    <a:pt x="39" y="104"/>
                    <a:pt x="39" y="104"/>
                  </a:cubicBezTo>
                  <a:cubicBezTo>
                    <a:pt x="39" y="103"/>
                    <a:pt x="39" y="103"/>
                    <a:pt x="40" y="103"/>
                  </a:cubicBezTo>
                  <a:cubicBezTo>
                    <a:pt x="40" y="103"/>
                    <a:pt x="40" y="103"/>
                    <a:pt x="40" y="103"/>
                  </a:cubicBezTo>
                  <a:cubicBezTo>
                    <a:pt x="40" y="103"/>
                    <a:pt x="40" y="103"/>
                    <a:pt x="40" y="103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0" y="102"/>
                    <a:pt x="40" y="102"/>
                    <a:pt x="40" y="102"/>
                  </a:cubicBezTo>
                  <a:cubicBezTo>
                    <a:pt x="40" y="102"/>
                    <a:pt x="40" y="102"/>
                    <a:pt x="40" y="102"/>
                  </a:cubicBezTo>
                  <a:lnTo>
                    <a:pt x="39" y="104"/>
                  </a:lnTo>
                  <a:close/>
                  <a:moveTo>
                    <a:pt x="18" y="93"/>
                  </a:moveTo>
                  <a:cubicBezTo>
                    <a:pt x="17" y="95"/>
                    <a:pt x="16" y="98"/>
                    <a:pt x="16" y="101"/>
                  </a:cubicBezTo>
                  <a:cubicBezTo>
                    <a:pt x="9" y="98"/>
                    <a:pt x="9" y="98"/>
                    <a:pt x="9" y="98"/>
                  </a:cubicBezTo>
                  <a:cubicBezTo>
                    <a:pt x="9" y="88"/>
                    <a:pt x="9" y="88"/>
                    <a:pt x="9" y="88"/>
                  </a:cubicBezTo>
                  <a:lnTo>
                    <a:pt x="18" y="93"/>
                  </a:lnTo>
                  <a:close/>
                  <a:moveTo>
                    <a:pt x="370" y="91"/>
                  </a:moveTo>
                  <a:cubicBezTo>
                    <a:pt x="370" y="99"/>
                    <a:pt x="370" y="99"/>
                    <a:pt x="370" y="99"/>
                  </a:cubicBezTo>
                  <a:cubicBezTo>
                    <a:pt x="193" y="188"/>
                    <a:pt x="193" y="188"/>
                    <a:pt x="193" y="188"/>
                  </a:cubicBezTo>
                  <a:cubicBezTo>
                    <a:pt x="193" y="177"/>
                    <a:pt x="193" y="177"/>
                    <a:pt x="193" y="177"/>
                  </a:cubicBezTo>
                  <a:lnTo>
                    <a:pt x="370" y="91"/>
                  </a:lnTo>
                  <a:close/>
                  <a:moveTo>
                    <a:pt x="172" y="91"/>
                  </a:moveTo>
                  <a:cubicBezTo>
                    <a:pt x="178" y="91"/>
                    <a:pt x="189" y="89"/>
                    <a:pt x="193" y="82"/>
                  </a:cubicBezTo>
                  <a:cubicBezTo>
                    <a:pt x="194" y="80"/>
                    <a:pt x="194" y="77"/>
                    <a:pt x="193" y="74"/>
                  </a:cubicBezTo>
                  <a:cubicBezTo>
                    <a:pt x="192" y="71"/>
                    <a:pt x="189" y="66"/>
                    <a:pt x="175" y="66"/>
                  </a:cubicBezTo>
                  <a:cubicBezTo>
                    <a:pt x="174" y="66"/>
                    <a:pt x="172" y="66"/>
                    <a:pt x="170" y="66"/>
                  </a:cubicBezTo>
                  <a:cubicBezTo>
                    <a:pt x="168" y="66"/>
                    <a:pt x="165" y="66"/>
                    <a:pt x="161" y="67"/>
                  </a:cubicBezTo>
                  <a:cubicBezTo>
                    <a:pt x="107" y="70"/>
                    <a:pt x="42" y="75"/>
                    <a:pt x="23" y="87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90" y="9"/>
                    <a:pt x="190" y="9"/>
                    <a:pt x="190" y="9"/>
                  </a:cubicBezTo>
                  <a:cubicBezTo>
                    <a:pt x="365" y="86"/>
                    <a:pt x="365" y="86"/>
                    <a:pt x="365" y="86"/>
                  </a:cubicBezTo>
                  <a:cubicBezTo>
                    <a:pt x="190" y="170"/>
                    <a:pt x="190" y="170"/>
                    <a:pt x="190" y="170"/>
                  </a:cubicBezTo>
                  <a:cubicBezTo>
                    <a:pt x="54" y="103"/>
                    <a:pt x="54" y="103"/>
                    <a:pt x="54" y="103"/>
                  </a:cubicBezTo>
                  <a:cubicBezTo>
                    <a:pt x="55" y="103"/>
                    <a:pt x="56" y="102"/>
                    <a:pt x="57" y="102"/>
                  </a:cubicBezTo>
                  <a:cubicBezTo>
                    <a:pt x="74" y="99"/>
                    <a:pt x="107" y="95"/>
                    <a:pt x="172" y="91"/>
                  </a:cubicBez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Freeform 564"/>
            <p:cNvSpPr>
              <a:spLocks/>
            </p:cNvSpPr>
            <p:nvPr/>
          </p:nvSpPr>
          <p:spPr bwMode="gray">
            <a:xfrm>
              <a:off x="3649665" y="5938836"/>
              <a:ext cx="728663" cy="160338"/>
            </a:xfrm>
            <a:custGeom>
              <a:avLst/>
              <a:gdLst>
                <a:gd name="T0" fmla="*/ 128 w 459"/>
                <a:gd name="T1" fmla="*/ 0 h 101"/>
                <a:gd name="T2" fmla="*/ 0 w 459"/>
                <a:gd name="T3" fmla="*/ 49 h 101"/>
                <a:gd name="T4" fmla="*/ 128 w 459"/>
                <a:gd name="T5" fmla="*/ 101 h 101"/>
                <a:gd name="T6" fmla="*/ 128 w 459"/>
                <a:gd name="T7" fmla="*/ 54 h 101"/>
                <a:gd name="T8" fmla="*/ 331 w 459"/>
                <a:gd name="T9" fmla="*/ 54 h 101"/>
                <a:gd name="T10" fmla="*/ 331 w 459"/>
                <a:gd name="T11" fmla="*/ 101 h 101"/>
                <a:gd name="T12" fmla="*/ 459 w 459"/>
                <a:gd name="T13" fmla="*/ 49 h 101"/>
                <a:gd name="T14" fmla="*/ 331 w 459"/>
                <a:gd name="T15" fmla="*/ 0 h 101"/>
                <a:gd name="T16" fmla="*/ 331 w 459"/>
                <a:gd name="T17" fmla="*/ 47 h 101"/>
                <a:gd name="T18" fmla="*/ 128 w 459"/>
                <a:gd name="T19" fmla="*/ 47 h 101"/>
                <a:gd name="T20" fmla="*/ 128 w 459"/>
                <a:gd name="T21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9" h="101">
                  <a:moveTo>
                    <a:pt x="128" y="0"/>
                  </a:moveTo>
                  <a:lnTo>
                    <a:pt x="0" y="49"/>
                  </a:lnTo>
                  <a:lnTo>
                    <a:pt x="128" y="101"/>
                  </a:lnTo>
                  <a:lnTo>
                    <a:pt x="128" y="54"/>
                  </a:lnTo>
                  <a:lnTo>
                    <a:pt x="331" y="54"/>
                  </a:lnTo>
                  <a:lnTo>
                    <a:pt x="331" y="101"/>
                  </a:lnTo>
                  <a:lnTo>
                    <a:pt x="459" y="49"/>
                  </a:lnTo>
                  <a:lnTo>
                    <a:pt x="331" y="0"/>
                  </a:lnTo>
                  <a:lnTo>
                    <a:pt x="331" y="47"/>
                  </a:lnTo>
                  <a:lnTo>
                    <a:pt x="128" y="47"/>
                  </a:lnTo>
                  <a:lnTo>
                    <a:pt x="128" y="0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565"/>
            <p:cNvSpPr>
              <a:spLocks noEditPoints="1"/>
            </p:cNvSpPr>
            <p:nvPr/>
          </p:nvSpPr>
          <p:spPr bwMode="gray">
            <a:xfrm>
              <a:off x="3608388" y="5916612"/>
              <a:ext cx="811214" cy="206375"/>
            </a:xfrm>
            <a:custGeom>
              <a:avLst/>
              <a:gdLst>
                <a:gd name="T0" fmla="*/ 348 w 511"/>
                <a:gd name="T1" fmla="*/ 52 h 130"/>
                <a:gd name="T2" fmla="*/ 163 w 511"/>
                <a:gd name="T3" fmla="*/ 52 h 130"/>
                <a:gd name="T4" fmla="*/ 163 w 511"/>
                <a:gd name="T5" fmla="*/ 0 h 130"/>
                <a:gd name="T6" fmla="*/ 0 w 511"/>
                <a:gd name="T7" fmla="*/ 63 h 130"/>
                <a:gd name="T8" fmla="*/ 163 w 511"/>
                <a:gd name="T9" fmla="*/ 130 h 130"/>
                <a:gd name="T10" fmla="*/ 163 w 511"/>
                <a:gd name="T11" fmla="*/ 78 h 130"/>
                <a:gd name="T12" fmla="*/ 348 w 511"/>
                <a:gd name="T13" fmla="*/ 78 h 130"/>
                <a:gd name="T14" fmla="*/ 348 w 511"/>
                <a:gd name="T15" fmla="*/ 130 h 130"/>
                <a:gd name="T16" fmla="*/ 511 w 511"/>
                <a:gd name="T17" fmla="*/ 63 h 130"/>
                <a:gd name="T18" fmla="*/ 348 w 511"/>
                <a:gd name="T19" fmla="*/ 0 h 130"/>
                <a:gd name="T20" fmla="*/ 348 w 511"/>
                <a:gd name="T21" fmla="*/ 52 h 130"/>
                <a:gd name="T22" fmla="*/ 357 w 511"/>
                <a:gd name="T23" fmla="*/ 14 h 130"/>
                <a:gd name="T24" fmla="*/ 485 w 511"/>
                <a:gd name="T25" fmla="*/ 63 h 130"/>
                <a:gd name="T26" fmla="*/ 357 w 511"/>
                <a:gd name="T27" fmla="*/ 115 h 130"/>
                <a:gd name="T28" fmla="*/ 357 w 511"/>
                <a:gd name="T29" fmla="*/ 68 h 130"/>
                <a:gd name="T30" fmla="*/ 154 w 511"/>
                <a:gd name="T31" fmla="*/ 68 h 130"/>
                <a:gd name="T32" fmla="*/ 154 w 511"/>
                <a:gd name="T33" fmla="*/ 115 h 130"/>
                <a:gd name="T34" fmla="*/ 26 w 511"/>
                <a:gd name="T35" fmla="*/ 63 h 130"/>
                <a:gd name="T36" fmla="*/ 154 w 511"/>
                <a:gd name="T37" fmla="*/ 14 h 130"/>
                <a:gd name="T38" fmla="*/ 154 w 511"/>
                <a:gd name="T39" fmla="*/ 61 h 130"/>
                <a:gd name="T40" fmla="*/ 357 w 511"/>
                <a:gd name="T41" fmla="*/ 61 h 130"/>
                <a:gd name="T42" fmla="*/ 357 w 511"/>
                <a:gd name="T4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11" h="130">
                  <a:moveTo>
                    <a:pt x="348" y="52"/>
                  </a:moveTo>
                  <a:lnTo>
                    <a:pt x="163" y="52"/>
                  </a:lnTo>
                  <a:lnTo>
                    <a:pt x="163" y="0"/>
                  </a:lnTo>
                  <a:lnTo>
                    <a:pt x="0" y="63"/>
                  </a:lnTo>
                  <a:lnTo>
                    <a:pt x="163" y="130"/>
                  </a:lnTo>
                  <a:lnTo>
                    <a:pt x="163" y="78"/>
                  </a:lnTo>
                  <a:lnTo>
                    <a:pt x="348" y="78"/>
                  </a:lnTo>
                  <a:lnTo>
                    <a:pt x="348" y="130"/>
                  </a:lnTo>
                  <a:lnTo>
                    <a:pt x="511" y="63"/>
                  </a:lnTo>
                  <a:lnTo>
                    <a:pt x="348" y="0"/>
                  </a:lnTo>
                  <a:lnTo>
                    <a:pt x="348" y="52"/>
                  </a:lnTo>
                  <a:close/>
                  <a:moveTo>
                    <a:pt x="357" y="14"/>
                  </a:moveTo>
                  <a:lnTo>
                    <a:pt x="485" y="63"/>
                  </a:lnTo>
                  <a:lnTo>
                    <a:pt x="357" y="115"/>
                  </a:lnTo>
                  <a:lnTo>
                    <a:pt x="357" y="68"/>
                  </a:lnTo>
                  <a:lnTo>
                    <a:pt x="154" y="68"/>
                  </a:lnTo>
                  <a:lnTo>
                    <a:pt x="154" y="115"/>
                  </a:lnTo>
                  <a:lnTo>
                    <a:pt x="26" y="63"/>
                  </a:lnTo>
                  <a:lnTo>
                    <a:pt x="154" y="14"/>
                  </a:lnTo>
                  <a:lnTo>
                    <a:pt x="154" y="61"/>
                  </a:lnTo>
                  <a:lnTo>
                    <a:pt x="357" y="61"/>
                  </a:lnTo>
                  <a:lnTo>
                    <a:pt x="357" y="14"/>
                  </a:lnTo>
                  <a:close/>
                </a:path>
              </a:pathLst>
            </a:custGeom>
            <a:grpFill/>
            <a:ln w="3175">
              <a:solidFill>
                <a:srgbClr val="879628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" name="Group 208"/>
          <p:cNvGrpSpPr/>
          <p:nvPr/>
        </p:nvGrpSpPr>
        <p:grpSpPr bwMode="gray">
          <a:xfrm>
            <a:off x="5384593" y="2035184"/>
            <a:ext cx="1434682" cy="1382032"/>
            <a:chOff x="6965950" y="3524250"/>
            <a:chExt cx="3460750" cy="3333750"/>
          </a:xfrm>
        </p:grpSpPr>
        <p:sp>
          <p:nvSpPr>
            <p:cNvPr id="330" name="Freeform 353"/>
            <p:cNvSpPr>
              <a:spLocks noEditPoints="1"/>
            </p:cNvSpPr>
            <p:nvPr/>
          </p:nvSpPr>
          <p:spPr bwMode="gray">
            <a:xfrm>
              <a:off x="8362950" y="3825875"/>
              <a:ext cx="304800" cy="360363"/>
            </a:xfrm>
            <a:custGeom>
              <a:avLst/>
              <a:gdLst>
                <a:gd name="T0" fmla="*/ 192 w 192"/>
                <a:gd name="T1" fmla="*/ 100 h 227"/>
                <a:gd name="T2" fmla="*/ 7 w 192"/>
                <a:gd name="T3" fmla="*/ 2 h 227"/>
                <a:gd name="T4" fmla="*/ 0 w 192"/>
                <a:gd name="T5" fmla="*/ 0 h 227"/>
                <a:gd name="T6" fmla="*/ 0 w 192"/>
                <a:gd name="T7" fmla="*/ 122 h 227"/>
                <a:gd name="T8" fmla="*/ 192 w 192"/>
                <a:gd name="T9" fmla="*/ 227 h 227"/>
                <a:gd name="T10" fmla="*/ 192 w 192"/>
                <a:gd name="T11" fmla="*/ 100 h 227"/>
                <a:gd name="T12" fmla="*/ 67 w 192"/>
                <a:gd name="T13" fmla="*/ 42 h 227"/>
                <a:gd name="T14" fmla="*/ 123 w 192"/>
                <a:gd name="T15" fmla="*/ 73 h 227"/>
                <a:gd name="T16" fmla="*/ 123 w 192"/>
                <a:gd name="T17" fmla="*/ 180 h 227"/>
                <a:gd name="T18" fmla="*/ 67 w 192"/>
                <a:gd name="T19" fmla="*/ 149 h 227"/>
                <a:gd name="T20" fmla="*/ 67 w 192"/>
                <a:gd name="T21" fmla="*/ 42 h 227"/>
                <a:gd name="T22" fmla="*/ 9 w 192"/>
                <a:gd name="T23" fmla="*/ 13 h 227"/>
                <a:gd name="T24" fmla="*/ 58 w 192"/>
                <a:gd name="T25" fmla="*/ 40 h 227"/>
                <a:gd name="T26" fmla="*/ 58 w 192"/>
                <a:gd name="T27" fmla="*/ 145 h 227"/>
                <a:gd name="T28" fmla="*/ 9 w 192"/>
                <a:gd name="T29" fmla="*/ 118 h 227"/>
                <a:gd name="T30" fmla="*/ 9 w 192"/>
                <a:gd name="T31" fmla="*/ 13 h 227"/>
                <a:gd name="T32" fmla="*/ 185 w 192"/>
                <a:gd name="T33" fmla="*/ 214 h 227"/>
                <a:gd name="T34" fmla="*/ 132 w 192"/>
                <a:gd name="T35" fmla="*/ 185 h 227"/>
                <a:gd name="T36" fmla="*/ 132 w 192"/>
                <a:gd name="T37" fmla="*/ 75 h 227"/>
                <a:gd name="T38" fmla="*/ 185 w 192"/>
                <a:gd name="T39" fmla="*/ 104 h 227"/>
                <a:gd name="T40" fmla="*/ 185 w 192"/>
                <a:gd name="T41" fmla="*/ 21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27">
                  <a:moveTo>
                    <a:pt x="192" y="100"/>
                  </a:moveTo>
                  <a:lnTo>
                    <a:pt x="7" y="2"/>
                  </a:lnTo>
                  <a:lnTo>
                    <a:pt x="0" y="0"/>
                  </a:lnTo>
                  <a:lnTo>
                    <a:pt x="0" y="122"/>
                  </a:lnTo>
                  <a:lnTo>
                    <a:pt x="192" y="227"/>
                  </a:lnTo>
                  <a:lnTo>
                    <a:pt x="192" y="100"/>
                  </a:lnTo>
                  <a:close/>
                  <a:moveTo>
                    <a:pt x="67" y="42"/>
                  </a:moveTo>
                  <a:lnTo>
                    <a:pt x="123" y="73"/>
                  </a:lnTo>
                  <a:lnTo>
                    <a:pt x="123" y="180"/>
                  </a:lnTo>
                  <a:lnTo>
                    <a:pt x="67" y="149"/>
                  </a:lnTo>
                  <a:lnTo>
                    <a:pt x="67" y="42"/>
                  </a:lnTo>
                  <a:close/>
                  <a:moveTo>
                    <a:pt x="9" y="13"/>
                  </a:moveTo>
                  <a:lnTo>
                    <a:pt x="58" y="40"/>
                  </a:lnTo>
                  <a:lnTo>
                    <a:pt x="58" y="145"/>
                  </a:lnTo>
                  <a:lnTo>
                    <a:pt x="9" y="118"/>
                  </a:lnTo>
                  <a:lnTo>
                    <a:pt x="9" y="13"/>
                  </a:lnTo>
                  <a:close/>
                  <a:moveTo>
                    <a:pt x="185" y="214"/>
                  </a:moveTo>
                  <a:lnTo>
                    <a:pt x="132" y="185"/>
                  </a:lnTo>
                  <a:lnTo>
                    <a:pt x="132" y="75"/>
                  </a:lnTo>
                  <a:lnTo>
                    <a:pt x="185" y="104"/>
                  </a:lnTo>
                  <a:lnTo>
                    <a:pt x="185" y="214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1" name="Freeform 354"/>
            <p:cNvSpPr>
              <a:spLocks noEditPoints="1"/>
            </p:cNvSpPr>
            <p:nvPr/>
          </p:nvSpPr>
          <p:spPr bwMode="gray">
            <a:xfrm>
              <a:off x="8520113" y="3613150"/>
              <a:ext cx="292100" cy="236538"/>
            </a:xfrm>
            <a:custGeom>
              <a:avLst/>
              <a:gdLst>
                <a:gd name="T0" fmla="*/ 184 w 184"/>
                <a:gd name="T1" fmla="*/ 42 h 149"/>
                <a:gd name="T2" fmla="*/ 95 w 184"/>
                <a:gd name="T3" fmla="*/ 0 h 149"/>
                <a:gd name="T4" fmla="*/ 0 w 184"/>
                <a:gd name="T5" fmla="*/ 44 h 149"/>
                <a:gd name="T6" fmla="*/ 0 w 184"/>
                <a:gd name="T7" fmla="*/ 100 h 149"/>
                <a:gd name="T8" fmla="*/ 91 w 184"/>
                <a:gd name="T9" fmla="*/ 149 h 149"/>
                <a:gd name="T10" fmla="*/ 184 w 184"/>
                <a:gd name="T11" fmla="*/ 100 h 149"/>
                <a:gd name="T12" fmla="*/ 184 w 184"/>
                <a:gd name="T13" fmla="*/ 42 h 149"/>
                <a:gd name="T14" fmla="*/ 17 w 184"/>
                <a:gd name="T15" fmla="*/ 91 h 149"/>
                <a:gd name="T16" fmla="*/ 17 w 184"/>
                <a:gd name="T17" fmla="*/ 56 h 149"/>
                <a:gd name="T18" fmla="*/ 89 w 184"/>
                <a:gd name="T19" fmla="*/ 94 h 149"/>
                <a:gd name="T20" fmla="*/ 89 w 184"/>
                <a:gd name="T21" fmla="*/ 129 h 149"/>
                <a:gd name="T22" fmla="*/ 17 w 184"/>
                <a:gd name="T23" fmla="*/ 91 h 149"/>
                <a:gd name="T24" fmla="*/ 91 w 184"/>
                <a:gd name="T25" fmla="*/ 91 h 149"/>
                <a:gd name="T26" fmla="*/ 20 w 184"/>
                <a:gd name="T27" fmla="*/ 53 h 149"/>
                <a:gd name="T28" fmla="*/ 22 w 184"/>
                <a:gd name="T29" fmla="*/ 53 h 149"/>
                <a:gd name="T30" fmla="*/ 95 w 184"/>
                <a:gd name="T31" fmla="*/ 18 h 149"/>
                <a:gd name="T32" fmla="*/ 162 w 184"/>
                <a:gd name="T33" fmla="*/ 51 h 149"/>
                <a:gd name="T34" fmla="*/ 167 w 184"/>
                <a:gd name="T35" fmla="*/ 51 h 149"/>
                <a:gd name="T36" fmla="*/ 91 w 184"/>
                <a:gd name="T37" fmla="*/ 91 h 149"/>
                <a:gd name="T38" fmla="*/ 93 w 184"/>
                <a:gd name="T39" fmla="*/ 129 h 149"/>
                <a:gd name="T40" fmla="*/ 93 w 184"/>
                <a:gd name="T41" fmla="*/ 94 h 149"/>
                <a:gd name="T42" fmla="*/ 167 w 184"/>
                <a:gd name="T43" fmla="*/ 56 h 149"/>
                <a:gd name="T44" fmla="*/ 167 w 184"/>
                <a:gd name="T45" fmla="*/ 89 h 149"/>
                <a:gd name="T46" fmla="*/ 93 w 184"/>
                <a:gd name="T47" fmla="*/ 12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4" h="149">
                  <a:moveTo>
                    <a:pt x="184" y="42"/>
                  </a:moveTo>
                  <a:lnTo>
                    <a:pt x="95" y="0"/>
                  </a:lnTo>
                  <a:lnTo>
                    <a:pt x="0" y="44"/>
                  </a:lnTo>
                  <a:lnTo>
                    <a:pt x="0" y="100"/>
                  </a:lnTo>
                  <a:lnTo>
                    <a:pt x="91" y="149"/>
                  </a:lnTo>
                  <a:lnTo>
                    <a:pt x="184" y="100"/>
                  </a:lnTo>
                  <a:lnTo>
                    <a:pt x="184" y="42"/>
                  </a:lnTo>
                  <a:close/>
                  <a:moveTo>
                    <a:pt x="17" y="91"/>
                  </a:moveTo>
                  <a:lnTo>
                    <a:pt x="17" y="56"/>
                  </a:lnTo>
                  <a:lnTo>
                    <a:pt x="89" y="94"/>
                  </a:lnTo>
                  <a:lnTo>
                    <a:pt x="89" y="129"/>
                  </a:lnTo>
                  <a:lnTo>
                    <a:pt x="17" y="91"/>
                  </a:lnTo>
                  <a:close/>
                  <a:moveTo>
                    <a:pt x="91" y="91"/>
                  </a:moveTo>
                  <a:lnTo>
                    <a:pt x="20" y="53"/>
                  </a:lnTo>
                  <a:lnTo>
                    <a:pt x="22" y="53"/>
                  </a:lnTo>
                  <a:lnTo>
                    <a:pt x="95" y="18"/>
                  </a:lnTo>
                  <a:lnTo>
                    <a:pt x="162" y="51"/>
                  </a:lnTo>
                  <a:lnTo>
                    <a:pt x="167" y="51"/>
                  </a:lnTo>
                  <a:lnTo>
                    <a:pt x="91" y="91"/>
                  </a:lnTo>
                  <a:close/>
                  <a:moveTo>
                    <a:pt x="93" y="129"/>
                  </a:moveTo>
                  <a:lnTo>
                    <a:pt x="93" y="94"/>
                  </a:lnTo>
                  <a:lnTo>
                    <a:pt x="167" y="56"/>
                  </a:lnTo>
                  <a:lnTo>
                    <a:pt x="167" y="89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2" name="Freeform 355"/>
            <p:cNvSpPr>
              <a:spLocks noEditPoints="1"/>
            </p:cNvSpPr>
            <p:nvPr/>
          </p:nvSpPr>
          <p:spPr bwMode="gray">
            <a:xfrm>
              <a:off x="9036050" y="4168775"/>
              <a:ext cx="304800" cy="357188"/>
            </a:xfrm>
            <a:custGeom>
              <a:avLst/>
              <a:gdLst>
                <a:gd name="T0" fmla="*/ 192 w 192"/>
                <a:gd name="T1" fmla="*/ 225 h 225"/>
                <a:gd name="T2" fmla="*/ 192 w 192"/>
                <a:gd name="T3" fmla="*/ 100 h 225"/>
                <a:gd name="T4" fmla="*/ 4 w 192"/>
                <a:gd name="T5" fmla="*/ 2 h 225"/>
                <a:gd name="T6" fmla="*/ 0 w 192"/>
                <a:gd name="T7" fmla="*/ 0 h 225"/>
                <a:gd name="T8" fmla="*/ 0 w 192"/>
                <a:gd name="T9" fmla="*/ 120 h 225"/>
                <a:gd name="T10" fmla="*/ 192 w 192"/>
                <a:gd name="T11" fmla="*/ 225 h 225"/>
                <a:gd name="T12" fmla="*/ 7 w 192"/>
                <a:gd name="T13" fmla="*/ 11 h 225"/>
                <a:gd name="T14" fmla="*/ 58 w 192"/>
                <a:gd name="T15" fmla="*/ 38 h 225"/>
                <a:gd name="T16" fmla="*/ 58 w 192"/>
                <a:gd name="T17" fmla="*/ 145 h 225"/>
                <a:gd name="T18" fmla="*/ 7 w 192"/>
                <a:gd name="T19" fmla="*/ 116 h 225"/>
                <a:gd name="T20" fmla="*/ 7 w 192"/>
                <a:gd name="T21" fmla="*/ 11 h 225"/>
                <a:gd name="T22" fmla="*/ 122 w 192"/>
                <a:gd name="T23" fmla="*/ 178 h 225"/>
                <a:gd name="T24" fmla="*/ 65 w 192"/>
                <a:gd name="T25" fmla="*/ 147 h 225"/>
                <a:gd name="T26" fmla="*/ 65 w 192"/>
                <a:gd name="T27" fmla="*/ 42 h 225"/>
                <a:gd name="T28" fmla="*/ 122 w 192"/>
                <a:gd name="T29" fmla="*/ 71 h 225"/>
                <a:gd name="T30" fmla="*/ 122 w 192"/>
                <a:gd name="T31" fmla="*/ 178 h 225"/>
                <a:gd name="T32" fmla="*/ 185 w 192"/>
                <a:gd name="T33" fmla="*/ 212 h 225"/>
                <a:gd name="T34" fmla="*/ 129 w 192"/>
                <a:gd name="T35" fmla="*/ 183 h 225"/>
                <a:gd name="T36" fmla="*/ 129 w 192"/>
                <a:gd name="T37" fmla="*/ 76 h 225"/>
                <a:gd name="T38" fmla="*/ 185 w 192"/>
                <a:gd name="T39" fmla="*/ 105 h 225"/>
                <a:gd name="T40" fmla="*/ 185 w 192"/>
                <a:gd name="T41" fmla="*/ 21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25">
                  <a:moveTo>
                    <a:pt x="192" y="225"/>
                  </a:moveTo>
                  <a:lnTo>
                    <a:pt x="192" y="100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120"/>
                  </a:lnTo>
                  <a:lnTo>
                    <a:pt x="192" y="225"/>
                  </a:lnTo>
                  <a:close/>
                  <a:moveTo>
                    <a:pt x="7" y="11"/>
                  </a:moveTo>
                  <a:lnTo>
                    <a:pt x="58" y="38"/>
                  </a:lnTo>
                  <a:lnTo>
                    <a:pt x="58" y="145"/>
                  </a:lnTo>
                  <a:lnTo>
                    <a:pt x="7" y="116"/>
                  </a:lnTo>
                  <a:lnTo>
                    <a:pt x="7" y="11"/>
                  </a:lnTo>
                  <a:close/>
                  <a:moveTo>
                    <a:pt x="122" y="178"/>
                  </a:moveTo>
                  <a:lnTo>
                    <a:pt x="65" y="147"/>
                  </a:lnTo>
                  <a:lnTo>
                    <a:pt x="65" y="42"/>
                  </a:lnTo>
                  <a:lnTo>
                    <a:pt x="122" y="71"/>
                  </a:lnTo>
                  <a:lnTo>
                    <a:pt x="122" y="178"/>
                  </a:lnTo>
                  <a:close/>
                  <a:moveTo>
                    <a:pt x="185" y="212"/>
                  </a:moveTo>
                  <a:lnTo>
                    <a:pt x="129" y="183"/>
                  </a:lnTo>
                  <a:lnTo>
                    <a:pt x="129" y="76"/>
                  </a:lnTo>
                  <a:lnTo>
                    <a:pt x="185" y="105"/>
                  </a:lnTo>
                  <a:lnTo>
                    <a:pt x="185" y="212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3" name="Freeform 356"/>
            <p:cNvSpPr>
              <a:spLocks noEditPoints="1"/>
            </p:cNvSpPr>
            <p:nvPr/>
          </p:nvSpPr>
          <p:spPr bwMode="gray">
            <a:xfrm>
              <a:off x="9191625" y="3952875"/>
              <a:ext cx="290513" cy="239713"/>
            </a:xfrm>
            <a:custGeom>
              <a:avLst/>
              <a:gdLst>
                <a:gd name="T0" fmla="*/ 183 w 183"/>
                <a:gd name="T1" fmla="*/ 44 h 151"/>
                <a:gd name="T2" fmla="*/ 94 w 183"/>
                <a:gd name="T3" fmla="*/ 0 h 151"/>
                <a:gd name="T4" fmla="*/ 0 w 183"/>
                <a:gd name="T5" fmla="*/ 47 h 151"/>
                <a:gd name="T6" fmla="*/ 0 w 183"/>
                <a:gd name="T7" fmla="*/ 102 h 151"/>
                <a:gd name="T8" fmla="*/ 91 w 183"/>
                <a:gd name="T9" fmla="*/ 151 h 151"/>
                <a:gd name="T10" fmla="*/ 183 w 183"/>
                <a:gd name="T11" fmla="*/ 100 h 151"/>
                <a:gd name="T12" fmla="*/ 183 w 183"/>
                <a:gd name="T13" fmla="*/ 44 h 151"/>
                <a:gd name="T14" fmla="*/ 16 w 183"/>
                <a:gd name="T15" fmla="*/ 91 h 151"/>
                <a:gd name="T16" fmla="*/ 16 w 183"/>
                <a:gd name="T17" fmla="*/ 58 h 151"/>
                <a:gd name="T18" fmla="*/ 89 w 183"/>
                <a:gd name="T19" fmla="*/ 96 h 151"/>
                <a:gd name="T20" fmla="*/ 89 w 183"/>
                <a:gd name="T21" fmla="*/ 131 h 151"/>
                <a:gd name="T22" fmla="*/ 16 w 183"/>
                <a:gd name="T23" fmla="*/ 91 h 151"/>
                <a:gd name="T24" fmla="*/ 91 w 183"/>
                <a:gd name="T25" fmla="*/ 91 h 151"/>
                <a:gd name="T26" fmla="*/ 18 w 183"/>
                <a:gd name="T27" fmla="*/ 53 h 151"/>
                <a:gd name="T28" fmla="*/ 22 w 183"/>
                <a:gd name="T29" fmla="*/ 53 h 151"/>
                <a:gd name="T30" fmla="*/ 94 w 183"/>
                <a:gd name="T31" fmla="*/ 20 h 151"/>
                <a:gd name="T32" fmla="*/ 163 w 183"/>
                <a:gd name="T33" fmla="*/ 51 h 151"/>
                <a:gd name="T34" fmla="*/ 165 w 183"/>
                <a:gd name="T35" fmla="*/ 51 h 151"/>
                <a:gd name="T36" fmla="*/ 91 w 183"/>
                <a:gd name="T37" fmla="*/ 91 h 151"/>
                <a:gd name="T38" fmla="*/ 91 w 183"/>
                <a:gd name="T39" fmla="*/ 131 h 151"/>
                <a:gd name="T40" fmla="*/ 91 w 183"/>
                <a:gd name="T41" fmla="*/ 96 h 151"/>
                <a:gd name="T42" fmla="*/ 167 w 183"/>
                <a:gd name="T43" fmla="*/ 56 h 151"/>
                <a:gd name="T44" fmla="*/ 167 w 183"/>
                <a:gd name="T45" fmla="*/ 91 h 151"/>
                <a:gd name="T46" fmla="*/ 91 w 183"/>
                <a:gd name="T47" fmla="*/ 13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3" h="151">
                  <a:moveTo>
                    <a:pt x="183" y="44"/>
                  </a:moveTo>
                  <a:lnTo>
                    <a:pt x="94" y="0"/>
                  </a:lnTo>
                  <a:lnTo>
                    <a:pt x="0" y="47"/>
                  </a:lnTo>
                  <a:lnTo>
                    <a:pt x="0" y="102"/>
                  </a:lnTo>
                  <a:lnTo>
                    <a:pt x="91" y="151"/>
                  </a:lnTo>
                  <a:lnTo>
                    <a:pt x="183" y="100"/>
                  </a:lnTo>
                  <a:lnTo>
                    <a:pt x="183" y="44"/>
                  </a:lnTo>
                  <a:close/>
                  <a:moveTo>
                    <a:pt x="16" y="91"/>
                  </a:moveTo>
                  <a:lnTo>
                    <a:pt x="16" y="58"/>
                  </a:lnTo>
                  <a:lnTo>
                    <a:pt x="89" y="96"/>
                  </a:lnTo>
                  <a:lnTo>
                    <a:pt x="89" y="131"/>
                  </a:lnTo>
                  <a:lnTo>
                    <a:pt x="16" y="91"/>
                  </a:lnTo>
                  <a:close/>
                  <a:moveTo>
                    <a:pt x="91" y="91"/>
                  </a:moveTo>
                  <a:lnTo>
                    <a:pt x="18" y="53"/>
                  </a:lnTo>
                  <a:lnTo>
                    <a:pt x="22" y="53"/>
                  </a:lnTo>
                  <a:lnTo>
                    <a:pt x="94" y="20"/>
                  </a:lnTo>
                  <a:lnTo>
                    <a:pt x="163" y="51"/>
                  </a:lnTo>
                  <a:lnTo>
                    <a:pt x="165" y="51"/>
                  </a:lnTo>
                  <a:lnTo>
                    <a:pt x="91" y="91"/>
                  </a:lnTo>
                  <a:close/>
                  <a:moveTo>
                    <a:pt x="91" y="131"/>
                  </a:moveTo>
                  <a:lnTo>
                    <a:pt x="91" y="96"/>
                  </a:lnTo>
                  <a:lnTo>
                    <a:pt x="167" y="56"/>
                  </a:lnTo>
                  <a:lnTo>
                    <a:pt x="167" y="91"/>
                  </a:lnTo>
                  <a:lnTo>
                    <a:pt x="91" y="131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4" name="Freeform 357"/>
            <p:cNvSpPr>
              <a:spLocks noEditPoints="1"/>
            </p:cNvSpPr>
            <p:nvPr/>
          </p:nvSpPr>
          <p:spPr bwMode="gray">
            <a:xfrm>
              <a:off x="6965950" y="3524250"/>
              <a:ext cx="3460750" cy="3333750"/>
            </a:xfrm>
            <a:custGeom>
              <a:avLst/>
              <a:gdLst>
                <a:gd name="T0" fmla="*/ 364 w 978"/>
                <a:gd name="T1" fmla="*/ 142 h 942"/>
                <a:gd name="T2" fmla="*/ 189 w 978"/>
                <a:gd name="T3" fmla="*/ 575 h 942"/>
                <a:gd name="T4" fmla="*/ 440 w 978"/>
                <a:gd name="T5" fmla="*/ 810 h 942"/>
                <a:gd name="T6" fmla="*/ 736 w 978"/>
                <a:gd name="T7" fmla="*/ 940 h 942"/>
                <a:gd name="T8" fmla="*/ 620 w 978"/>
                <a:gd name="T9" fmla="*/ 605 h 942"/>
                <a:gd name="T10" fmla="*/ 768 w 978"/>
                <a:gd name="T11" fmla="*/ 913 h 942"/>
                <a:gd name="T12" fmla="*/ 488 w 978"/>
                <a:gd name="T13" fmla="*/ 757 h 942"/>
                <a:gd name="T14" fmla="*/ 276 w 978"/>
                <a:gd name="T15" fmla="*/ 594 h 942"/>
                <a:gd name="T16" fmla="*/ 280 w 978"/>
                <a:gd name="T17" fmla="*/ 403 h 942"/>
                <a:gd name="T18" fmla="*/ 221 w 978"/>
                <a:gd name="T19" fmla="*/ 496 h 942"/>
                <a:gd name="T20" fmla="*/ 832 w 978"/>
                <a:gd name="T21" fmla="*/ 438 h 942"/>
                <a:gd name="T22" fmla="*/ 803 w 978"/>
                <a:gd name="T23" fmla="*/ 422 h 942"/>
                <a:gd name="T24" fmla="*/ 430 w 978"/>
                <a:gd name="T25" fmla="*/ 532 h 942"/>
                <a:gd name="T26" fmla="*/ 322 w 978"/>
                <a:gd name="T27" fmla="*/ 216 h 942"/>
                <a:gd name="T28" fmla="*/ 347 w 978"/>
                <a:gd name="T29" fmla="*/ 312 h 942"/>
                <a:gd name="T30" fmla="*/ 559 w 978"/>
                <a:gd name="T31" fmla="*/ 127 h 942"/>
                <a:gd name="T32" fmla="*/ 562 w 978"/>
                <a:gd name="T33" fmla="*/ 148 h 942"/>
                <a:gd name="T34" fmla="*/ 504 w 978"/>
                <a:gd name="T35" fmla="*/ 699 h 942"/>
                <a:gd name="T36" fmla="*/ 471 w 978"/>
                <a:gd name="T37" fmla="*/ 694 h 942"/>
                <a:gd name="T38" fmla="*/ 477 w 978"/>
                <a:gd name="T39" fmla="*/ 557 h 942"/>
                <a:gd name="T40" fmla="*/ 474 w 978"/>
                <a:gd name="T41" fmla="*/ 547 h 942"/>
                <a:gd name="T42" fmla="*/ 389 w 978"/>
                <a:gd name="T43" fmla="*/ 416 h 942"/>
                <a:gd name="T44" fmla="*/ 370 w 978"/>
                <a:gd name="T45" fmla="*/ 276 h 942"/>
                <a:gd name="T46" fmla="*/ 481 w 978"/>
                <a:gd name="T47" fmla="*/ 394 h 942"/>
                <a:gd name="T48" fmla="*/ 456 w 978"/>
                <a:gd name="T49" fmla="*/ 389 h 942"/>
                <a:gd name="T50" fmla="*/ 351 w 978"/>
                <a:gd name="T51" fmla="*/ 327 h 942"/>
                <a:gd name="T52" fmla="*/ 614 w 978"/>
                <a:gd name="T53" fmla="*/ 314 h 942"/>
                <a:gd name="T54" fmla="*/ 611 w 978"/>
                <a:gd name="T55" fmla="*/ 316 h 942"/>
                <a:gd name="T56" fmla="*/ 512 w 978"/>
                <a:gd name="T57" fmla="*/ 409 h 942"/>
                <a:gd name="T58" fmla="*/ 562 w 978"/>
                <a:gd name="T59" fmla="*/ 396 h 942"/>
                <a:gd name="T60" fmla="*/ 553 w 978"/>
                <a:gd name="T61" fmla="*/ 239 h 942"/>
                <a:gd name="T62" fmla="*/ 450 w 978"/>
                <a:gd name="T63" fmla="*/ 201 h 942"/>
                <a:gd name="T64" fmla="*/ 421 w 978"/>
                <a:gd name="T65" fmla="*/ 215 h 942"/>
                <a:gd name="T66" fmla="*/ 267 w 978"/>
                <a:gd name="T67" fmla="*/ 302 h 942"/>
                <a:gd name="T68" fmla="*/ 412 w 978"/>
                <a:gd name="T69" fmla="*/ 365 h 942"/>
                <a:gd name="T70" fmla="*/ 505 w 978"/>
                <a:gd name="T71" fmla="*/ 657 h 942"/>
                <a:gd name="T72" fmla="*/ 525 w 978"/>
                <a:gd name="T73" fmla="*/ 511 h 942"/>
                <a:gd name="T74" fmla="*/ 749 w 978"/>
                <a:gd name="T75" fmla="*/ 239 h 942"/>
                <a:gd name="T76" fmla="*/ 171 w 978"/>
                <a:gd name="T77" fmla="*/ 414 h 942"/>
                <a:gd name="T78" fmla="*/ 251 w 978"/>
                <a:gd name="T79" fmla="*/ 432 h 942"/>
                <a:gd name="T80" fmla="*/ 251 w 978"/>
                <a:gd name="T81" fmla="*/ 422 h 942"/>
                <a:gd name="T82" fmla="*/ 676 w 978"/>
                <a:gd name="T83" fmla="*/ 503 h 942"/>
                <a:gd name="T84" fmla="*/ 886 w 978"/>
                <a:gd name="T85" fmla="*/ 310 h 942"/>
                <a:gd name="T86" fmla="*/ 720 w 978"/>
                <a:gd name="T87" fmla="*/ 291 h 942"/>
                <a:gd name="T88" fmla="*/ 752 w 978"/>
                <a:gd name="T89" fmla="*/ 237 h 942"/>
                <a:gd name="T90" fmla="*/ 531 w 978"/>
                <a:gd name="T91" fmla="*/ 137 h 942"/>
                <a:gd name="T92" fmla="*/ 587 w 978"/>
                <a:gd name="T93" fmla="*/ 125 h 942"/>
                <a:gd name="T94" fmla="*/ 502 w 978"/>
                <a:gd name="T95" fmla="*/ 117 h 942"/>
                <a:gd name="T96" fmla="*/ 403 w 978"/>
                <a:gd name="T97" fmla="*/ 169 h 942"/>
                <a:gd name="T98" fmla="*/ 280 w 978"/>
                <a:gd name="T99" fmla="*/ 296 h 942"/>
                <a:gd name="T100" fmla="*/ 94 w 978"/>
                <a:gd name="T101" fmla="*/ 208 h 942"/>
                <a:gd name="T102" fmla="*/ 223 w 978"/>
                <a:gd name="T103" fmla="*/ 323 h 942"/>
                <a:gd name="T104" fmla="*/ 189 w 978"/>
                <a:gd name="T105" fmla="*/ 456 h 942"/>
                <a:gd name="T106" fmla="*/ 283 w 978"/>
                <a:gd name="T107" fmla="*/ 441 h 942"/>
                <a:gd name="T108" fmla="*/ 331 w 978"/>
                <a:gd name="T109" fmla="*/ 418 h 942"/>
                <a:gd name="T110" fmla="*/ 444 w 978"/>
                <a:gd name="T111" fmla="*/ 579 h 942"/>
                <a:gd name="T112" fmla="*/ 386 w 978"/>
                <a:gd name="T113" fmla="*/ 705 h 942"/>
                <a:gd name="T114" fmla="*/ 453 w 978"/>
                <a:gd name="T115" fmla="*/ 778 h 942"/>
                <a:gd name="T116" fmla="*/ 680 w 978"/>
                <a:gd name="T117" fmla="*/ 501 h 942"/>
                <a:gd name="T118" fmla="*/ 704 w 978"/>
                <a:gd name="T119" fmla="*/ 412 h 942"/>
                <a:gd name="T120" fmla="*/ 794 w 978"/>
                <a:gd name="T121" fmla="*/ 362 h 942"/>
                <a:gd name="T122" fmla="*/ 968 w 978"/>
                <a:gd name="T123" fmla="*/ 495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8" h="942">
                  <a:moveTo>
                    <a:pt x="839" y="196"/>
                  </a:moveTo>
                  <a:cubicBezTo>
                    <a:pt x="785" y="222"/>
                    <a:pt x="785" y="222"/>
                    <a:pt x="785" y="222"/>
                  </a:cubicBezTo>
                  <a:cubicBezTo>
                    <a:pt x="785" y="164"/>
                    <a:pt x="785" y="164"/>
                    <a:pt x="785" y="164"/>
                  </a:cubicBezTo>
                  <a:cubicBezTo>
                    <a:pt x="647" y="97"/>
                    <a:pt x="647" y="97"/>
                    <a:pt x="647" y="97"/>
                  </a:cubicBezTo>
                  <a:cubicBezTo>
                    <a:pt x="596" y="121"/>
                    <a:pt x="596" y="121"/>
                    <a:pt x="596" y="121"/>
                  </a:cubicBezTo>
                  <a:cubicBezTo>
                    <a:pt x="596" y="67"/>
                    <a:pt x="596" y="67"/>
                    <a:pt x="596" y="67"/>
                  </a:cubicBezTo>
                  <a:cubicBezTo>
                    <a:pt x="457" y="0"/>
                    <a:pt x="457" y="0"/>
                    <a:pt x="457" y="0"/>
                  </a:cubicBezTo>
                  <a:cubicBezTo>
                    <a:pt x="364" y="45"/>
                    <a:pt x="364" y="45"/>
                    <a:pt x="364" y="45"/>
                  </a:cubicBezTo>
                  <a:cubicBezTo>
                    <a:pt x="364" y="142"/>
                    <a:pt x="364" y="142"/>
                    <a:pt x="364" y="142"/>
                  </a:cubicBezTo>
                  <a:cubicBezTo>
                    <a:pt x="274" y="99"/>
                    <a:pt x="274" y="99"/>
                    <a:pt x="274" y="99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80" y="240"/>
                    <a:pt x="180" y="240"/>
                    <a:pt x="180" y="240"/>
                  </a:cubicBezTo>
                  <a:cubicBezTo>
                    <a:pt x="94" y="198"/>
                    <a:pt x="94" y="198"/>
                    <a:pt x="94" y="198"/>
                  </a:cubicBezTo>
                  <a:cubicBezTo>
                    <a:pt x="0" y="243"/>
                    <a:pt x="0" y="243"/>
                    <a:pt x="0" y="243"/>
                  </a:cubicBezTo>
                  <a:cubicBezTo>
                    <a:pt x="0" y="478"/>
                    <a:pt x="0" y="478"/>
                    <a:pt x="0" y="478"/>
                  </a:cubicBezTo>
                  <a:cubicBezTo>
                    <a:pt x="141" y="551"/>
                    <a:pt x="141" y="551"/>
                    <a:pt x="141" y="551"/>
                  </a:cubicBezTo>
                  <a:cubicBezTo>
                    <a:pt x="189" y="525"/>
                    <a:pt x="189" y="525"/>
                    <a:pt x="189" y="525"/>
                  </a:cubicBezTo>
                  <a:cubicBezTo>
                    <a:pt x="189" y="575"/>
                    <a:pt x="189" y="575"/>
                    <a:pt x="189" y="575"/>
                  </a:cubicBezTo>
                  <a:cubicBezTo>
                    <a:pt x="225" y="593"/>
                    <a:pt x="225" y="593"/>
                    <a:pt x="225" y="593"/>
                  </a:cubicBezTo>
                  <a:cubicBezTo>
                    <a:pt x="228" y="610"/>
                    <a:pt x="232" y="627"/>
                    <a:pt x="237" y="644"/>
                  </a:cubicBezTo>
                  <a:cubicBezTo>
                    <a:pt x="270" y="746"/>
                    <a:pt x="335" y="820"/>
                    <a:pt x="392" y="820"/>
                  </a:cubicBezTo>
                  <a:cubicBezTo>
                    <a:pt x="394" y="820"/>
                    <a:pt x="397" y="819"/>
                    <a:pt x="399" y="819"/>
                  </a:cubicBezTo>
                  <a:cubicBezTo>
                    <a:pt x="399" y="819"/>
                    <a:pt x="399" y="819"/>
                    <a:pt x="399" y="819"/>
                  </a:cubicBezTo>
                  <a:cubicBezTo>
                    <a:pt x="400" y="819"/>
                    <a:pt x="400" y="819"/>
                    <a:pt x="400" y="819"/>
                  </a:cubicBezTo>
                  <a:cubicBezTo>
                    <a:pt x="404" y="819"/>
                    <a:pt x="407" y="818"/>
                    <a:pt x="410" y="817"/>
                  </a:cubicBezTo>
                  <a:cubicBezTo>
                    <a:pt x="411" y="817"/>
                    <a:pt x="411" y="817"/>
                    <a:pt x="411" y="817"/>
                  </a:cubicBezTo>
                  <a:cubicBezTo>
                    <a:pt x="440" y="810"/>
                    <a:pt x="440" y="810"/>
                    <a:pt x="440" y="810"/>
                  </a:cubicBezTo>
                  <a:cubicBezTo>
                    <a:pt x="459" y="804"/>
                    <a:pt x="474" y="789"/>
                    <a:pt x="484" y="766"/>
                  </a:cubicBezTo>
                  <a:cubicBezTo>
                    <a:pt x="485" y="767"/>
                    <a:pt x="485" y="767"/>
                    <a:pt x="486" y="767"/>
                  </a:cubicBezTo>
                  <a:cubicBezTo>
                    <a:pt x="491" y="772"/>
                    <a:pt x="491" y="772"/>
                    <a:pt x="491" y="772"/>
                  </a:cubicBezTo>
                  <a:cubicBezTo>
                    <a:pt x="490" y="771"/>
                    <a:pt x="490" y="771"/>
                    <a:pt x="490" y="771"/>
                  </a:cubicBezTo>
                  <a:cubicBezTo>
                    <a:pt x="533" y="799"/>
                    <a:pt x="728" y="935"/>
                    <a:pt x="730" y="937"/>
                  </a:cubicBezTo>
                  <a:cubicBezTo>
                    <a:pt x="733" y="939"/>
                    <a:pt x="733" y="939"/>
                    <a:pt x="733" y="939"/>
                  </a:cubicBezTo>
                  <a:cubicBezTo>
                    <a:pt x="733" y="939"/>
                    <a:pt x="733" y="939"/>
                    <a:pt x="734" y="939"/>
                  </a:cubicBezTo>
                  <a:cubicBezTo>
                    <a:pt x="734" y="939"/>
                    <a:pt x="734" y="939"/>
                    <a:pt x="734" y="939"/>
                  </a:cubicBezTo>
                  <a:cubicBezTo>
                    <a:pt x="736" y="940"/>
                    <a:pt x="736" y="940"/>
                    <a:pt x="736" y="940"/>
                  </a:cubicBezTo>
                  <a:cubicBezTo>
                    <a:pt x="736" y="940"/>
                    <a:pt x="736" y="940"/>
                    <a:pt x="736" y="940"/>
                  </a:cubicBezTo>
                  <a:cubicBezTo>
                    <a:pt x="738" y="941"/>
                    <a:pt x="741" y="942"/>
                    <a:pt x="743" y="942"/>
                  </a:cubicBezTo>
                  <a:cubicBezTo>
                    <a:pt x="755" y="942"/>
                    <a:pt x="768" y="932"/>
                    <a:pt x="776" y="918"/>
                  </a:cubicBezTo>
                  <a:cubicBezTo>
                    <a:pt x="784" y="906"/>
                    <a:pt x="787" y="893"/>
                    <a:pt x="784" y="883"/>
                  </a:cubicBezTo>
                  <a:cubicBezTo>
                    <a:pt x="783" y="877"/>
                    <a:pt x="780" y="873"/>
                    <a:pt x="776" y="870"/>
                  </a:cubicBezTo>
                  <a:cubicBezTo>
                    <a:pt x="774" y="870"/>
                    <a:pt x="773" y="869"/>
                    <a:pt x="772" y="869"/>
                  </a:cubicBezTo>
                  <a:cubicBezTo>
                    <a:pt x="754" y="857"/>
                    <a:pt x="633" y="772"/>
                    <a:pt x="567" y="727"/>
                  </a:cubicBezTo>
                  <a:cubicBezTo>
                    <a:pt x="620" y="699"/>
                    <a:pt x="620" y="699"/>
                    <a:pt x="620" y="699"/>
                  </a:cubicBezTo>
                  <a:cubicBezTo>
                    <a:pt x="620" y="605"/>
                    <a:pt x="620" y="605"/>
                    <a:pt x="620" y="605"/>
                  </a:cubicBezTo>
                  <a:cubicBezTo>
                    <a:pt x="702" y="648"/>
                    <a:pt x="702" y="648"/>
                    <a:pt x="702" y="648"/>
                  </a:cubicBezTo>
                  <a:cubicBezTo>
                    <a:pt x="794" y="599"/>
                    <a:pt x="794" y="599"/>
                    <a:pt x="794" y="599"/>
                  </a:cubicBezTo>
                  <a:cubicBezTo>
                    <a:pt x="794" y="501"/>
                    <a:pt x="794" y="501"/>
                    <a:pt x="794" y="501"/>
                  </a:cubicBezTo>
                  <a:cubicBezTo>
                    <a:pt x="886" y="549"/>
                    <a:pt x="886" y="549"/>
                    <a:pt x="886" y="549"/>
                  </a:cubicBezTo>
                  <a:cubicBezTo>
                    <a:pt x="978" y="500"/>
                    <a:pt x="978" y="500"/>
                    <a:pt x="978" y="500"/>
                  </a:cubicBezTo>
                  <a:cubicBezTo>
                    <a:pt x="978" y="263"/>
                    <a:pt x="978" y="263"/>
                    <a:pt x="978" y="263"/>
                  </a:cubicBezTo>
                  <a:lnTo>
                    <a:pt x="839" y="196"/>
                  </a:lnTo>
                  <a:close/>
                  <a:moveTo>
                    <a:pt x="775" y="885"/>
                  </a:moveTo>
                  <a:cubicBezTo>
                    <a:pt x="777" y="892"/>
                    <a:pt x="774" y="903"/>
                    <a:pt x="768" y="913"/>
                  </a:cubicBezTo>
                  <a:cubicBezTo>
                    <a:pt x="760" y="927"/>
                    <a:pt x="746" y="935"/>
                    <a:pt x="739" y="931"/>
                  </a:cubicBezTo>
                  <a:cubicBezTo>
                    <a:pt x="736" y="930"/>
                    <a:pt x="735" y="928"/>
                    <a:pt x="734" y="924"/>
                  </a:cubicBezTo>
                  <a:cubicBezTo>
                    <a:pt x="732" y="917"/>
                    <a:pt x="735" y="906"/>
                    <a:pt x="741" y="897"/>
                  </a:cubicBezTo>
                  <a:cubicBezTo>
                    <a:pt x="748" y="885"/>
                    <a:pt x="758" y="877"/>
                    <a:pt x="766" y="877"/>
                  </a:cubicBezTo>
                  <a:cubicBezTo>
                    <a:pt x="768" y="877"/>
                    <a:pt x="769" y="878"/>
                    <a:pt x="771" y="878"/>
                  </a:cubicBezTo>
                  <a:cubicBezTo>
                    <a:pt x="773" y="880"/>
                    <a:pt x="774" y="882"/>
                    <a:pt x="775" y="885"/>
                  </a:cubicBezTo>
                  <a:close/>
                  <a:moveTo>
                    <a:pt x="733" y="892"/>
                  </a:moveTo>
                  <a:cubicBezTo>
                    <a:pt x="727" y="901"/>
                    <a:pt x="724" y="912"/>
                    <a:pt x="725" y="921"/>
                  </a:cubicBezTo>
                  <a:cubicBezTo>
                    <a:pt x="676" y="888"/>
                    <a:pt x="496" y="762"/>
                    <a:pt x="488" y="757"/>
                  </a:cubicBezTo>
                  <a:cubicBezTo>
                    <a:pt x="481" y="753"/>
                    <a:pt x="482" y="737"/>
                    <a:pt x="491" y="723"/>
                  </a:cubicBezTo>
                  <a:cubicBezTo>
                    <a:pt x="498" y="713"/>
                    <a:pt x="508" y="705"/>
                    <a:pt x="516" y="705"/>
                  </a:cubicBezTo>
                  <a:cubicBezTo>
                    <a:pt x="517" y="705"/>
                    <a:pt x="519" y="705"/>
                    <a:pt x="520" y="706"/>
                  </a:cubicBezTo>
                  <a:cubicBezTo>
                    <a:pt x="528" y="711"/>
                    <a:pt x="710" y="837"/>
                    <a:pt x="757" y="870"/>
                  </a:cubicBezTo>
                  <a:cubicBezTo>
                    <a:pt x="748" y="873"/>
                    <a:pt x="739" y="881"/>
                    <a:pt x="733" y="892"/>
                  </a:cubicBezTo>
                  <a:close/>
                  <a:moveTo>
                    <a:pt x="246" y="641"/>
                  </a:moveTo>
                  <a:cubicBezTo>
                    <a:pt x="242" y="626"/>
                    <a:pt x="238" y="610"/>
                    <a:pt x="235" y="596"/>
                  </a:cubicBezTo>
                  <a:cubicBezTo>
                    <a:pt x="228" y="569"/>
                    <a:pt x="228" y="569"/>
                    <a:pt x="228" y="569"/>
                  </a:cubicBezTo>
                  <a:cubicBezTo>
                    <a:pt x="276" y="594"/>
                    <a:pt x="276" y="594"/>
                    <a:pt x="276" y="594"/>
                  </a:cubicBezTo>
                  <a:cubicBezTo>
                    <a:pt x="276" y="690"/>
                    <a:pt x="276" y="690"/>
                    <a:pt x="276" y="690"/>
                  </a:cubicBezTo>
                  <a:cubicBezTo>
                    <a:pt x="261" y="682"/>
                    <a:pt x="261" y="682"/>
                    <a:pt x="261" y="682"/>
                  </a:cubicBezTo>
                  <a:cubicBezTo>
                    <a:pt x="259" y="685"/>
                    <a:pt x="259" y="685"/>
                    <a:pt x="259" y="685"/>
                  </a:cubicBezTo>
                  <a:cubicBezTo>
                    <a:pt x="250" y="652"/>
                    <a:pt x="250" y="652"/>
                    <a:pt x="250" y="652"/>
                  </a:cubicBezTo>
                  <a:cubicBezTo>
                    <a:pt x="249" y="648"/>
                    <a:pt x="248" y="645"/>
                    <a:pt x="246" y="641"/>
                  </a:cubicBezTo>
                  <a:close/>
                  <a:moveTo>
                    <a:pt x="199" y="346"/>
                  </a:moveTo>
                  <a:cubicBezTo>
                    <a:pt x="301" y="398"/>
                    <a:pt x="301" y="398"/>
                    <a:pt x="301" y="398"/>
                  </a:cubicBezTo>
                  <a:cubicBezTo>
                    <a:pt x="293" y="400"/>
                    <a:pt x="293" y="400"/>
                    <a:pt x="293" y="400"/>
                  </a:cubicBezTo>
                  <a:cubicBezTo>
                    <a:pt x="289" y="401"/>
                    <a:pt x="284" y="402"/>
                    <a:pt x="280" y="403"/>
                  </a:cubicBezTo>
                  <a:cubicBezTo>
                    <a:pt x="277" y="404"/>
                    <a:pt x="274" y="405"/>
                    <a:pt x="272" y="406"/>
                  </a:cubicBezTo>
                  <a:cubicBezTo>
                    <a:pt x="224" y="381"/>
                    <a:pt x="224" y="381"/>
                    <a:pt x="224" y="381"/>
                  </a:cubicBezTo>
                  <a:cubicBezTo>
                    <a:pt x="221" y="380"/>
                    <a:pt x="221" y="380"/>
                    <a:pt x="221" y="380"/>
                  </a:cubicBezTo>
                  <a:cubicBezTo>
                    <a:pt x="221" y="434"/>
                    <a:pt x="221" y="434"/>
                    <a:pt x="221" y="434"/>
                  </a:cubicBezTo>
                  <a:cubicBezTo>
                    <a:pt x="237" y="443"/>
                    <a:pt x="237" y="443"/>
                    <a:pt x="237" y="443"/>
                  </a:cubicBezTo>
                  <a:cubicBezTo>
                    <a:pt x="234" y="448"/>
                    <a:pt x="231" y="454"/>
                    <a:pt x="229" y="460"/>
                  </a:cubicBezTo>
                  <a:cubicBezTo>
                    <a:pt x="224" y="457"/>
                    <a:pt x="224" y="457"/>
                    <a:pt x="224" y="457"/>
                  </a:cubicBezTo>
                  <a:cubicBezTo>
                    <a:pt x="221" y="456"/>
                    <a:pt x="221" y="456"/>
                    <a:pt x="221" y="456"/>
                  </a:cubicBezTo>
                  <a:cubicBezTo>
                    <a:pt x="221" y="496"/>
                    <a:pt x="221" y="496"/>
                    <a:pt x="221" y="496"/>
                  </a:cubicBezTo>
                  <a:cubicBezTo>
                    <a:pt x="218" y="522"/>
                    <a:pt x="218" y="551"/>
                    <a:pt x="223" y="581"/>
                  </a:cubicBezTo>
                  <a:cubicBezTo>
                    <a:pt x="199" y="569"/>
                    <a:pt x="199" y="569"/>
                    <a:pt x="199" y="569"/>
                  </a:cubicBezTo>
                  <a:lnTo>
                    <a:pt x="199" y="346"/>
                  </a:lnTo>
                  <a:close/>
                  <a:moveTo>
                    <a:pt x="835" y="392"/>
                  </a:moveTo>
                  <a:cubicBezTo>
                    <a:pt x="860" y="405"/>
                    <a:pt x="860" y="405"/>
                    <a:pt x="860" y="405"/>
                  </a:cubicBezTo>
                  <a:cubicBezTo>
                    <a:pt x="860" y="453"/>
                    <a:pt x="860" y="453"/>
                    <a:pt x="860" y="453"/>
                  </a:cubicBezTo>
                  <a:cubicBezTo>
                    <a:pt x="835" y="440"/>
                    <a:pt x="835" y="440"/>
                    <a:pt x="835" y="440"/>
                  </a:cubicBezTo>
                  <a:lnTo>
                    <a:pt x="835" y="392"/>
                  </a:lnTo>
                  <a:close/>
                  <a:moveTo>
                    <a:pt x="832" y="438"/>
                  </a:moveTo>
                  <a:cubicBezTo>
                    <a:pt x="806" y="424"/>
                    <a:pt x="806" y="424"/>
                    <a:pt x="806" y="424"/>
                  </a:cubicBezTo>
                  <a:cubicBezTo>
                    <a:pt x="806" y="377"/>
                    <a:pt x="806" y="377"/>
                    <a:pt x="806" y="377"/>
                  </a:cubicBezTo>
                  <a:cubicBezTo>
                    <a:pt x="832" y="390"/>
                    <a:pt x="832" y="390"/>
                    <a:pt x="832" y="390"/>
                  </a:cubicBezTo>
                  <a:lnTo>
                    <a:pt x="832" y="438"/>
                  </a:lnTo>
                  <a:close/>
                  <a:moveTo>
                    <a:pt x="803" y="422"/>
                  </a:moveTo>
                  <a:cubicBezTo>
                    <a:pt x="794" y="418"/>
                    <a:pt x="794" y="418"/>
                    <a:pt x="794" y="418"/>
                  </a:cubicBezTo>
                  <a:cubicBezTo>
                    <a:pt x="794" y="370"/>
                    <a:pt x="794" y="370"/>
                    <a:pt x="794" y="370"/>
                  </a:cubicBezTo>
                  <a:cubicBezTo>
                    <a:pt x="803" y="375"/>
                    <a:pt x="803" y="375"/>
                    <a:pt x="803" y="375"/>
                  </a:cubicBezTo>
                  <a:lnTo>
                    <a:pt x="803" y="422"/>
                  </a:lnTo>
                  <a:close/>
                  <a:moveTo>
                    <a:pt x="703" y="408"/>
                  </a:moveTo>
                  <a:cubicBezTo>
                    <a:pt x="575" y="343"/>
                    <a:pt x="575" y="343"/>
                    <a:pt x="575" y="343"/>
                  </a:cubicBezTo>
                  <a:cubicBezTo>
                    <a:pt x="655" y="305"/>
                    <a:pt x="655" y="305"/>
                    <a:pt x="655" y="305"/>
                  </a:cubicBezTo>
                  <a:cubicBezTo>
                    <a:pt x="778" y="364"/>
                    <a:pt x="778" y="364"/>
                    <a:pt x="778" y="364"/>
                  </a:cubicBezTo>
                  <a:cubicBezTo>
                    <a:pt x="784" y="365"/>
                    <a:pt x="784" y="365"/>
                    <a:pt x="784" y="365"/>
                  </a:cubicBezTo>
                  <a:lnTo>
                    <a:pt x="703" y="408"/>
                  </a:lnTo>
                  <a:close/>
                  <a:moveTo>
                    <a:pt x="386" y="555"/>
                  </a:moveTo>
                  <a:cubicBezTo>
                    <a:pt x="386" y="462"/>
                    <a:pt x="386" y="462"/>
                    <a:pt x="386" y="462"/>
                  </a:cubicBezTo>
                  <a:cubicBezTo>
                    <a:pt x="430" y="532"/>
                    <a:pt x="430" y="532"/>
                    <a:pt x="430" y="532"/>
                  </a:cubicBezTo>
                  <a:lnTo>
                    <a:pt x="386" y="555"/>
                  </a:lnTo>
                  <a:close/>
                  <a:moveTo>
                    <a:pt x="171" y="386"/>
                  </a:moveTo>
                  <a:cubicBezTo>
                    <a:pt x="171" y="337"/>
                    <a:pt x="171" y="337"/>
                    <a:pt x="171" y="337"/>
                  </a:cubicBezTo>
                  <a:cubicBezTo>
                    <a:pt x="196" y="325"/>
                    <a:pt x="196" y="325"/>
                    <a:pt x="196" y="325"/>
                  </a:cubicBezTo>
                  <a:cubicBezTo>
                    <a:pt x="196" y="336"/>
                    <a:pt x="196" y="336"/>
                    <a:pt x="196" y="336"/>
                  </a:cubicBezTo>
                  <a:cubicBezTo>
                    <a:pt x="189" y="339"/>
                    <a:pt x="189" y="339"/>
                    <a:pt x="189" y="339"/>
                  </a:cubicBezTo>
                  <a:cubicBezTo>
                    <a:pt x="189" y="376"/>
                    <a:pt x="189" y="376"/>
                    <a:pt x="189" y="376"/>
                  </a:cubicBezTo>
                  <a:lnTo>
                    <a:pt x="171" y="386"/>
                  </a:lnTo>
                  <a:close/>
                  <a:moveTo>
                    <a:pt x="322" y="216"/>
                  </a:moveTo>
                  <a:cubicBezTo>
                    <a:pt x="403" y="174"/>
                    <a:pt x="403" y="174"/>
                    <a:pt x="403" y="174"/>
                  </a:cubicBezTo>
                  <a:cubicBezTo>
                    <a:pt x="403" y="224"/>
                    <a:pt x="403" y="224"/>
                    <a:pt x="403" y="224"/>
                  </a:cubicBezTo>
                  <a:cubicBezTo>
                    <a:pt x="379" y="235"/>
                    <a:pt x="379" y="235"/>
                    <a:pt x="379" y="235"/>
                  </a:cubicBezTo>
                  <a:cubicBezTo>
                    <a:pt x="379" y="220"/>
                    <a:pt x="379" y="220"/>
                    <a:pt x="379" y="220"/>
                  </a:cubicBezTo>
                  <a:cubicBezTo>
                    <a:pt x="347" y="236"/>
                    <a:pt x="347" y="236"/>
                    <a:pt x="347" y="236"/>
                  </a:cubicBezTo>
                  <a:cubicBezTo>
                    <a:pt x="347" y="293"/>
                    <a:pt x="347" y="293"/>
                    <a:pt x="347" y="293"/>
                  </a:cubicBezTo>
                  <a:cubicBezTo>
                    <a:pt x="370" y="280"/>
                    <a:pt x="370" y="280"/>
                    <a:pt x="370" y="280"/>
                  </a:cubicBezTo>
                  <a:cubicBezTo>
                    <a:pt x="370" y="301"/>
                    <a:pt x="370" y="301"/>
                    <a:pt x="370" y="301"/>
                  </a:cubicBezTo>
                  <a:cubicBezTo>
                    <a:pt x="347" y="312"/>
                    <a:pt x="347" y="312"/>
                    <a:pt x="347" y="312"/>
                  </a:cubicBezTo>
                  <a:cubicBezTo>
                    <a:pt x="347" y="326"/>
                    <a:pt x="347" y="326"/>
                    <a:pt x="347" y="326"/>
                  </a:cubicBezTo>
                  <a:cubicBezTo>
                    <a:pt x="322" y="314"/>
                    <a:pt x="322" y="314"/>
                    <a:pt x="322" y="314"/>
                  </a:cubicBezTo>
                  <a:lnTo>
                    <a:pt x="322" y="216"/>
                  </a:lnTo>
                  <a:close/>
                  <a:moveTo>
                    <a:pt x="559" y="138"/>
                  </a:moveTo>
                  <a:cubicBezTo>
                    <a:pt x="553" y="141"/>
                    <a:pt x="553" y="141"/>
                    <a:pt x="553" y="141"/>
                  </a:cubicBezTo>
                  <a:cubicBezTo>
                    <a:pt x="553" y="178"/>
                    <a:pt x="553" y="178"/>
                    <a:pt x="553" y="178"/>
                  </a:cubicBezTo>
                  <a:cubicBezTo>
                    <a:pt x="534" y="188"/>
                    <a:pt x="534" y="188"/>
                    <a:pt x="534" y="188"/>
                  </a:cubicBezTo>
                  <a:cubicBezTo>
                    <a:pt x="534" y="140"/>
                    <a:pt x="534" y="140"/>
                    <a:pt x="534" y="140"/>
                  </a:cubicBezTo>
                  <a:cubicBezTo>
                    <a:pt x="559" y="127"/>
                    <a:pt x="559" y="127"/>
                    <a:pt x="559" y="127"/>
                  </a:cubicBezTo>
                  <a:lnTo>
                    <a:pt x="559" y="138"/>
                  </a:lnTo>
                  <a:close/>
                  <a:moveTo>
                    <a:pt x="691" y="214"/>
                  </a:moveTo>
                  <a:cubicBezTo>
                    <a:pt x="691" y="312"/>
                    <a:pt x="691" y="312"/>
                    <a:pt x="691" y="312"/>
                  </a:cubicBezTo>
                  <a:cubicBezTo>
                    <a:pt x="655" y="295"/>
                    <a:pt x="655" y="295"/>
                    <a:pt x="655" y="295"/>
                  </a:cubicBezTo>
                  <a:cubicBezTo>
                    <a:pt x="655" y="295"/>
                    <a:pt x="655" y="295"/>
                    <a:pt x="655" y="295"/>
                  </a:cubicBezTo>
                  <a:cubicBezTo>
                    <a:pt x="602" y="267"/>
                    <a:pt x="602" y="267"/>
                    <a:pt x="602" y="267"/>
                  </a:cubicBezTo>
                  <a:cubicBezTo>
                    <a:pt x="602" y="262"/>
                    <a:pt x="602" y="262"/>
                    <a:pt x="602" y="262"/>
                  </a:cubicBezTo>
                  <a:cubicBezTo>
                    <a:pt x="562" y="243"/>
                    <a:pt x="562" y="243"/>
                    <a:pt x="562" y="243"/>
                  </a:cubicBezTo>
                  <a:cubicBezTo>
                    <a:pt x="562" y="148"/>
                    <a:pt x="562" y="148"/>
                    <a:pt x="562" y="148"/>
                  </a:cubicBezTo>
                  <a:lnTo>
                    <a:pt x="691" y="214"/>
                  </a:lnTo>
                  <a:close/>
                  <a:moveTo>
                    <a:pt x="745" y="338"/>
                  </a:moveTo>
                  <a:cubicBezTo>
                    <a:pt x="724" y="328"/>
                    <a:pt x="724" y="328"/>
                    <a:pt x="724" y="328"/>
                  </a:cubicBezTo>
                  <a:cubicBezTo>
                    <a:pt x="724" y="312"/>
                    <a:pt x="724" y="312"/>
                    <a:pt x="724" y="312"/>
                  </a:cubicBezTo>
                  <a:cubicBezTo>
                    <a:pt x="745" y="302"/>
                    <a:pt x="745" y="302"/>
                    <a:pt x="745" y="302"/>
                  </a:cubicBezTo>
                  <a:lnTo>
                    <a:pt x="745" y="338"/>
                  </a:lnTo>
                  <a:close/>
                  <a:moveTo>
                    <a:pt x="472" y="705"/>
                  </a:moveTo>
                  <a:cubicBezTo>
                    <a:pt x="476" y="699"/>
                    <a:pt x="482" y="695"/>
                    <a:pt x="489" y="695"/>
                  </a:cubicBezTo>
                  <a:cubicBezTo>
                    <a:pt x="495" y="695"/>
                    <a:pt x="500" y="697"/>
                    <a:pt x="504" y="699"/>
                  </a:cubicBezTo>
                  <a:cubicBezTo>
                    <a:pt x="496" y="703"/>
                    <a:pt x="489" y="709"/>
                    <a:pt x="483" y="718"/>
                  </a:cubicBezTo>
                  <a:cubicBezTo>
                    <a:pt x="477" y="727"/>
                    <a:pt x="474" y="737"/>
                    <a:pt x="474" y="745"/>
                  </a:cubicBezTo>
                  <a:cubicBezTo>
                    <a:pt x="462" y="732"/>
                    <a:pt x="460" y="722"/>
                    <a:pt x="472" y="705"/>
                  </a:cubicBezTo>
                  <a:close/>
                  <a:moveTo>
                    <a:pt x="453" y="576"/>
                  </a:moveTo>
                  <a:cubicBezTo>
                    <a:pt x="425" y="487"/>
                    <a:pt x="371" y="419"/>
                    <a:pt x="320" y="403"/>
                  </a:cubicBezTo>
                  <a:cubicBezTo>
                    <a:pt x="373" y="396"/>
                    <a:pt x="440" y="468"/>
                    <a:pt x="473" y="572"/>
                  </a:cubicBezTo>
                  <a:cubicBezTo>
                    <a:pt x="485" y="612"/>
                    <a:pt x="491" y="651"/>
                    <a:pt x="491" y="687"/>
                  </a:cubicBezTo>
                  <a:cubicBezTo>
                    <a:pt x="490" y="687"/>
                    <a:pt x="490" y="687"/>
                    <a:pt x="489" y="687"/>
                  </a:cubicBezTo>
                  <a:cubicBezTo>
                    <a:pt x="483" y="687"/>
                    <a:pt x="476" y="689"/>
                    <a:pt x="471" y="694"/>
                  </a:cubicBezTo>
                  <a:cubicBezTo>
                    <a:pt x="472" y="657"/>
                    <a:pt x="466" y="617"/>
                    <a:pt x="453" y="576"/>
                  </a:cubicBezTo>
                  <a:close/>
                  <a:moveTo>
                    <a:pt x="562" y="433"/>
                  </a:moveTo>
                  <a:cubicBezTo>
                    <a:pt x="540" y="423"/>
                    <a:pt x="540" y="423"/>
                    <a:pt x="540" y="423"/>
                  </a:cubicBezTo>
                  <a:cubicBezTo>
                    <a:pt x="540" y="411"/>
                    <a:pt x="540" y="411"/>
                    <a:pt x="540" y="411"/>
                  </a:cubicBezTo>
                  <a:cubicBezTo>
                    <a:pt x="562" y="400"/>
                    <a:pt x="562" y="400"/>
                    <a:pt x="562" y="400"/>
                  </a:cubicBezTo>
                  <a:lnTo>
                    <a:pt x="562" y="433"/>
                  </a:lnTo>
                  <a:close/>
                  <a:moveTo>
                    <a:pt x="502" y="575"/>
                  </a:moveTo>
                  <a:cubicBezTo>
                    <a:pt x="480" y="563"/>
                    <a:pt x="480" y="563"/>
                    <a:pt x="480" y="563"/>
                  </a:cubicBezTo>
                  <a:cubicBezTo>
                    <a:pt x="479" y="561"/>
                    <a:pt x="478" y="559"/>
                    <a:pt x="477" y="557"/>
                  </a:cubicBezTo>
                  <a:cubicBezTo>
                    <a:pt x="477" y="514"/>
                    <a:pt x="477" y="514"/>
                    <a:pt x="477" y="514"/>
                  </a:cubicBezTo>
                  <a:cubicBezTo>
                    <a:pt x="502" y="526"/>
                    <a:pt x="502" y="526"/>
                    <a:pt x="502" y="526"/>
                  </a:cubicBezTo>
                  <a:lnTo>
                    <a:pt x="502" y="575"/>
                  </a:lnTo>
                  <a:close/>
                  <a:moveTo>
                    <a:pt x="489" y="596"/>
                  </a:moveTo>
                  <a:cubicBezTo>
                    <a:pt x="502" y="603"/>
                    <a:pt x="502" y="603"/>
                    <a:pt x="502" y="603"/>
                  </a:cubicBezTo>
                  <a:cubicBezTo>
                    <a:pt x="502" y="651"/>
                    <a:pt x="502" y="651"/>
                    <a:pt x="502" y="651"/>
                  </a:cubicBezTo>
                  <a:cubicBezTo>
                    <a:pt x="499" y="650"/>
                    <a:pt x="499" y="650"/>
                    <a:pt x="499" y="650"/>
                  </a:cubicBezTo>
                  <a:cubicBezTo>
                    <a:pt x="497" y="632"/>
                    <a:pt x="494" y="614"/>
                    <a:pt x="489" y="596"/>
                  </a:cubicBezTo>
                  <a:close/>
                  <a:moveTo>
                    <a:pt x="474" y="547"/>
                  </a:moveTo>
                  <a:cubicBezTo>
                    <a:pt x="468" y="531"/>
                    <a:pt x="461" y="515"/>
                    <a:pt x="453" y="501"/>
                  </a:cubicBezTo>
                  <a:cubicBezTo>
                    <a:pt x="474" y="512"/>
                    <a:pt x="474" y="512"/>
                    <a:pt x="474" y="512"/>
                  </a:cubicBezTo>
                  <a:lnTo>
                    <a:pt x="474" y="547"/>
                  </a:lnTo>
                  <a:close/>
                  <a:moveTo>
                    <a:pt x="412" y="370"/>
                  </a:moveTo>
                  <a:cubicBezTo>
                    <a:pt x="412" y="403"/>
                    <a:pt x="412" y="403"/>
                    <a:pt x="412" y="403"/>
                  </a:cubicBezTo>
                  <a:cubicBezTo>
                    <a:pt x="412" y="427"/>
                    <a:pt x="412" y="427"/>
                    <a:pt x="412" y="427"/>
                  </a:cubicBezTo>
                  <a:cubicBezTo>
                    <a:pt x="403" y="431"/>
                    <a:pt x="403" y="431"/>
                    <a:pt x="403" y="431"/>
                  </a:cubicBezTo>
                  <a:cubicBezTo>
                    <a:pt x="399" y="426"/>
                    <a:pt x="394" y="422"/>
                    <a:pt x="389" y="418"/>
                  </a:cubicBezTo>
                  <a:cubicBezTo>
                    <a:pt x="389" y="416"/>
                    <a:pt x="389" y="416"/>
                    <a:pt x="389" y="416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377" y="409"/>
                    <a:pt x="367" y="403"/>
                    <a:pt x="357" y="399"/>
                  </a:cubicBezTo>
                  <a:lnTo>
                    <a:pt x="412" y="370"/>
                  </a:lnTo>
                  <a:close/>
                  <a:moveTo>
                    <a:pt x="351" y="287"/>
                  </a:moveTo>
                  <a:cubicBezTo>
                    <a:pt x="351" y="238"/>
                    <a:pt x="351" y="238"/>
                    <a:pt x="351" y="238"/>
                  </a:cubicBezTo>
                  <a:cubicBezTo>
                    <a:pt x="376" y="225"/>
                    <a:pt x="376" y="225"/>
                    <a:pt x="376" y="225"/>
                  </a:cubicBezTo>
                  <a:cubicBezTo>
                    <a:pt x="376" y="237"/>
                    <a:pt x="376" y="237"/>
                    <a:pt x="376" y="237"/>
                  </a:cubicBezTo>
                  <a:cubicBezTo>
                    <a:pt x="370" y="240"/>
                    <a:pt x="370" y="240"/>
                    <a:pt x="370" y="240"/>
                  </a:cubicBezTo>
                  <a:cubicBezTo>
                    <a:pt x="370" y="276"/>
                    <a:pt x="370" y="276"/>
                    <a:pt x="370" y="276"/>
                  </a:cubicBezTo>
                  <a:lnTo>
                    <a:pt x="351" y="287"/>
                  </a:lnTo>
                  <a:close/>
                  <a:moveTo>
                    <a:pt x="477" y="396"/>
                  </a:moveTo>
                  <a:cubicBezTo>
                    <a:pt x="422" y="367"/>
                    <a:pt x="422" y="367"/>
                    <a:pt x="422" y="367"/>
                  </a:cubicBezTo>
                  <a:cubicBezTo>
                    <a:pt x="422" y="362"/>
                    <a:pt x="422" y="362"/>
                    <a:pt x="422" y="362"/>
                  </a:cubicBezTo>
                  <a:cubicBezTo>
                    <a:pt x="379" y="341"/>
                    <a:pt x="379" y="341"/>
                    <a:pt x="379" y="341"/>
                  </a:cubicBezTo>
                  <a:cubicBezTo>
                    <a:pt x="379" y="247"/>
                    <a:pt x="379" y="247"/>
                    <a:pt x="379" y="247"/>
                  </a:cubicBezTo>
                  <a:cubicBezTo>
                    <a:pt x="507" y="312"/>
                    <a:pt x="507" y="312"/>
                    <a:pt x="507" y="312"/>
                  </a:cubicBezTo>
                  <a:cubicBezTo>
                    <a:pt x="507" y="407"/>
                    <a:pt x="507" y="407"/>
                    <a:pt x="507" y="407"/>
                  </a:cubicBezTo>
                  <a:cubicBezTo>
                    <a:pt x="481" y="394"/>
                    <a:pt x="481" y="394"/>
                    <a:pt x="481" y="394"/>
                  </a:cubicBezTo>
                  <a:lnTo>
                    <a:pt x="477" y="396"/>
                  </a:lnTo>
                  <a:close/>
                  <a:moveTo>
                    <a:pt x="426" y="421"/>
                  </a:moveTo>
                  <a:cubicBezTo>
                    <a:pt x="422" y="419"/>
                    <a:pt x="422" y="419"/>
                    <a:pt x="422" y="419"/>
                  </a:cubicBezTo>
                  <a:cubicBezTo>
                    <a:pt x="422" y="371"/>
                    <a:pt x="422" y="371"/>
                    <a:pt x="422" y="371"/>
                  </a:cubicBezTo>
                  <a:cubicBezTo>
                    <a:pt x="427" y="374"/>
                    <a:pt x="427" y="374"/>
                    <a:pt x="427" y="374"/>
                  </a:cubicBezTo>
                  <a:cubicBezTo>
                    <a:pt x="427" y="420"/>
                    <a:pt x="427" y="420"/>
                    <a:pt x="427" y="420"/>
                  </a:cubicBezTo>
                  <a:lnTo>
                    <a:pt x="426" y="421"/>
                  </a:lnTo>
                  <a:close/>
                  <a:moveTo>
                    <a:pt x="431" y="376"/>
                  </a:moveTo>
                  <a:cubicBezTo>
                    <a:pt x="456" y="389"/>
                    <a:pt x="456" y="389"/>
                    <a:pt x="456" y="389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31" y="418"/>
                    <a:pt x="431" y="418"/>
                    <a:pt x="431" y="418"/>
                  </a:cubicBezTo>
                  <a:lnTo>
                    <a:pt x="431" y="376"/>
                  </a:lnTo>
                  <a:close/>
                  <a:moveTo>
                    <a:pt x="460" y="391"/>
                  </a:moveTo>
                  <a:cubicBezTo>
                    <a:pt x="473" y="398"/>
                    <a:pt x="473" y="398"/>
                    <a:pt x="473" y="398"/>
                  </a:cubicBezTo>
                  <a:cubicBezTo>
                    <a:pt x="460" y="405"/>
                    <a:pt x="460" y="405"/>
                    <a:pt x="460" y="405"/>
                  </a:cubicBezTo>
                  <a:lnTo>
                    <a:pt x="460" y="391"/>
                  </a:lnTo>
                  <a:close/>
                  <a:moveTo>
                    <a:pt x="370" y="336"/>
                  </a:moveTo>
                  <a:cubicBezTo>
                    <a:pt x="351" y="327"/>
                    <a:pt x="351" y="327"/>
                    <a:pt x="351" y="327"/>
                  </a:cubicBezTo>
                  <a:cubicBezTo>
                    <a:pt x="351" y="314"/>
                    <a:pt x="351" y="314"/>
                    <a:pt x="351" y="314"/>
                  </a:cubicBezTo>
                  <a:cubicBezTo>
                    <a:pt x="370" y="305"/>
                    <a:pt x="370" y="305"/>
                    <a:pt x="370" y="305"/>
                  </a:cubicBezTo>
                  <a:lnTo>
                    <a:pt x="370" y="336"/>
                  </a:lnTo>
                  <a:close/>
                  <a:moveTo>
                    <a:pt x="643" y="292"/>
                  </a:moveTo>
                  <a:cubicBezTo>
                    <a:pt x="651" y="297"/>
                    <a:pt x="651" y="297"/>
                    <a:pt x="651" y="297"/>
                  </a:cubicBezTo>
                  <a:cubicBezTo>
                    <a:pt x="643" y="300"/>
                    <a:pt x="643" y="300"/>
                    <a:pt x="643" y="300"/>
                  </a:cubicBezTo>
                  <a:lnTo>
                    <a:pt x="643" y="292"/>
                  </a:lnTo>
                  <a:close/>
                  <a:moveTo>
                    <a:pt x="640" y="302"/>
                  </a:moveTo>
                  <a:cubicBezTo>
                    <a:pt x="614" y="314"/>
                    <a:pt x="614" y="314"/>
                    <a:pt x="614" y="314"/>
                  </a:cubicBezTo>
                  <a:cubicBezTo>
                    <a:pt x="614" y="277"/>
                    <a:pt x="614" y="277"/>
                    <a:pt x="614" y="277"/>
                  </a:cubicBezTo>
                  <a:cubicBezTo>
                    <a:pt x="640" y="291"/>
                    <a:pt x="640" y="291"/>
                    <a:pt x="640" y="291"/>
                  </a:cubicBezTo>
                  <a:lnTo>
                    <a:pt x="640" y="302"/>
                  </a:lnTo>
                  <a:close/>
                  <a:moveTo>
                    <a:pt x="611" y="316"/>
                  </a:moveTo>
                  <a:cubicBezTo>
                    <a:pt x="604" y="319"/>
                    <a:pt x="604" y="319"/>
                    <a:pt x="604" y="319"/>
                  </a:cubicBezTo>
                  <a:cubicBezTo>
                    <a:pt x="602" y="318"/>
                    <a:pt x="602" y="318"/>
                    <a:pt x="602" y="318"/>
                  </a:cubicBezTo>
                  <a:cubicBezTo>
                    <a:pt x="602" y="271"/>
                    <a:pt x="602" y="271"/>
                    <a:pt x="602" y="271"/>
                  </a:cubicBezTo>
                  <a:cubicBezTo>
                    <a:pt x="611" y="276"/>
                    <a:pt x="611" y="276"/>
                    <a:pt x="611" y="276"/>
                  </a:cubicBezTo>
                  <a:lnTo>
                    <a:pt x="611" y="316"/>
                  </a:lnTo>
                  <a:close/>
                  <a:moveTo>
                    <a:pt x="586" y="265"/>
                  </a:moveTo>
                  <a:cubicBezTo>
                    <a:pt x="592" y="266"/>
                    <a:pt x="592" y="266"/>
                    <a:pt x="592" y="266"/>
                  </a:cubicBezTo>
                  <a:cubicBezTo>
                    <a:pt x="510" y="309"/>
                    <a:pt x="510" y="309"/>
                    <a:pt x="510" y="309"/>
                  </a:cubicBezTo>
                  <a:cubicBezTo>
                    <a:pt x="383" y="244"/>
                    <a:pt x="383" y="244"/>
                    <a:pt x="383" y="244"/>
                  </a:cubicBezTo>
                  <a:cubicBezTo>
                    <a:pt x="463" y="205"/>
                    <a:pt x="463" y="205"/>
                    <a:pt x="463" y="205"/>
                  </a:cubicBezTo>
                  <a:lnTo>
                    <a:pt x="586" y="265"/>
                  </a:lnTo>
                  <a:close/>
                  <a:moveTo>
                    <a:pt x="537" y="409"/>
                  </a:moveTo>
                  <a:cubicBezTo>
                    <a:pt x="537" y="421"/>
                    <a:pt x="537" y="421"/>
                    <a:pt x="537" y="421"/>
                  </a:cubicBezTo>
                  <a:cubicBezTo>
                    <a:pt x="512" y="409"/>
                    <a:pt x="512" y="409"/>
                    <a:pt x="512" y="409"/>
                  </a:cubicBezTo>
                  <a:cubicBezTo>
                    <a:pt x="512" y="313"/>
                    <a:pt x="512" y="313"/>
                    <a:pt x="512" y="313"/>
                  </a:cubicBezTo>
                  <a:cubicBezTo>
                    <a:pt x="593" y="271"/>
                    <a:pt x="593" y="271"/>
                    <a:pt x="593" y="271"/>
                  </a:cubicBezTo>
                  <a:cubicBezTo>
                    <a:pt x="593" y="325"/>
                    <a:pt x="593" y="325"/>
                    <a:pt x="593" y="325"/>
                  </a:cubicBezTo>
                  <a:cubicBezTo>
                    <a:pt x="569" y="336"/>
                    <a:pt x="569" y="336"/>
                    <a:pt x="569" y="336"/>
                  </a:cubicBezTo>
                  <a:cubicBezTo>
                    <a:pt x="569" y="316"/>
                    <a:pt x="569" y="316"/>
                    <a:pt x="569" y="316"/>
                  </a:cubicBezTo>
                  <a:cubicBezTo>
                    <a:pt x="537" y="332"/>
                    <a:pt x="537" y="332"/>
                    <a:pt x="537" y="332"/>
                  </a:cubicBezTo>
                  <a:cubicBezTo>
                    <a:pt x="537" y="389"/>
                    <a:pt x="537" y="389"/>
                    <a:pt x="537" y="389"/>
                  </a:cubicBezTo>
                  <a:cubicBezTo>
                    <a:pt x="562" y="375"/>
                    <a:pt x="562" y="375"/>
                    <a:pt x="562" y="375"/>
                  </a:cubicBezTo>
                  <a:cubicBezTo>
                    <a:pt x="562" y="396"/>
                    <a:pt x="562" y="396"/>
                    <a:pt x="562" y="396"/>
                  </a:cubicBezTo>
                  <a:lnTo>
                    <a:pt x="537" y="409"/>
                  </a:lnTo>
                  <a:close/>
                  <a:moveTo>
                    <a:pt x="562" y="339"/>
                  </a:moveTo>
                  <a:cubicBezTo>
                    <a:pt x="562" y="371"/>
                    <a:pt x="562" y="371"/>
                    <a:pt x="562" y="371"/>
                  </a:cubicBezTo>
                  <a:cubicBezTo>
                    <a:pt x="540" y="383"/>
                    <a:pt x="540" y="383"/>
                    <a:pt x="540" y="383"/>
                  </a:cubicBezTo>
                  <a:cubicBezTo>
                    <a:pt x="540" y="335"/>
                    <a:pt x="540" y="335"/>
                    <a:pt x="540" y="335"/>
                  </a:cubicBezTo>
                  <a:cubicBezTo>
                    <a:pt x="565" y="322"/>
                    <a:pt x="565" y="322"/>
                    <a:pt x="565" y="322"/>
                  </a:cubicBezTo>
                  <a:cubicBezTo>
                    <a:pt x="565" y="338"/>
                    <a:pt x="565" y="338"/>
                    <a:pt x="565" y="338"/>
                  </a:cubicBezTo>
                  <a:lnTo>
                    <a:pt x="562" y="339"/>
                  </a:lnTo>
                  <a:close/>
                  <a:moveTo>
                    <a:pt x="553" y="239"/>
                  </a:moveTo>
                  <a:cubicBezTo>
                    <a:pt x="534" y="230"/>
                    <a:pt x="534" y="230"/>
                    <a:pt x="534" y="230"/>
                  </a:cubicBezTo>
                  <a:cubicBezTo>
                    <a:pt x="534" y="216"/>
                    <a:pt x="534" y="216"/>
                    <a:pt x="534" y="216"/>
                  </a:cubicBezTo>
                  <a:cubicBezTo>
                    <a:pt x="553" y="206"/>
                    <a:pt x="553" y="206"/>
                    <a:pt x="553" y="206"/>
                  </a:cubicBezTo>
                  <a:lnTo>
                    <a:pt x="553" y="239"/>
                  </a:lnTo>
                  <a:close/>
                  <a:moveTo>
                    <a:pt x="454" y="200"/>
                  </a:moveTo>
                  <a:cubicBezTo>
                    <a:pt x="454" y="196"/>
                    <a:pt x="454" y="196"/>
                    <a:pt x="454" y="196"/>
                  </a:cubicBezTo>
                  <a:cubicBezTo>
                    <a:pt x="457" y="198"/>
                    <a:pt x="457" y="198"/>
                    <a:pt x="457" y="198"/>
                  </a:cubicBezTo>
                  <a:lnTo>
                    <a:pt x="454" y="200"/>
                  </a:lnTo>
                  <a:close/>
                  <a:moveTo>
                    <a:pt x="450" y="201"/>
                  </a:moveTo>
                  <a:cubicBezTo>
                    <a:pt x="425" y="213"/>
                    <a:pt x="425" y="213"/>
                    <a:pt x="425" y="213"/>
                  </a:cubicBezTo>
                  <a:cubicBezTo>
                    <a:pt x="425" y="181"/>
                    <a:pt x="425" y="181"/>
                    <a:pt x="425" y="181"/>
                  </a:cubicBezTo>
                  <a:cubicBezTo>
                    <a:pt x="450" y="194"/>
                    <a:pt x="450" y="194"/>
                    <a:pt x="450" y="194"/>
                  </a:cubicBezTo>
                  <a:lnTo>
                    <a:pt x="450" y="201"/>
                  </a:lnTo>
                  <a:close/>
                  <a:moveTo>
                    <a:pt x="421" y="215"/>
                  </a:moveTo>
                  <a:cubicBezTo>
                    <a:pt x="412" y="219"/>
                    <a:pt x="412" y="219"/>
                    <a:pt x="412" y="219"/>
                  </a:cubicBezTo>
                  <a:cubicBezTo>
                    <a:pt x="412" y="174"/>
                    <a:pt x="412" y="174"/>
                    <a:pt x="412" y="174"/>
                  </a:cubicBezTo>
                  <a:cubicBezTo>
                    <a:pt x="421" y="179"/>
                    <a:pt x="421" y="179"/>
                    <a:pt x="421" y="179"/>
                  </a:cubicBezTo>
                  <a:lnTo>
                    <a:pt x="421" y="215"/>
                  </a:lnTo>
                  <a:close/>
                  <a:moveTo>
                    <a:pt x="270" y="301"/>
                  </a:moveTo>
                  <a:cubicBezTo>
                    <a:pt x="270" y="294"/>
                    <a:pt x="270" y="294"/>
                    <a:pt x="270" y="294"/>
                  </a:cubicBezTo>
                  <a:cubicBezTo>
                    <a:pt x="277" y="298"/>
                    <a:pt x="277" y="298"/>
                    <a:pt x="277" y="298"/>
                  </a:cubicBezTo>
                  <a:lnTo>
                    <a:pt x="270" y="301"/>
                  </a:lnTo>
                  <a:close/>
                  <a:moveTo>
                    <a:pt x="267" y="302"/>
                  </a:moveTo>
                  <a:cubicBezTo>
                    <a:pt x="241" y="315"/>
                    <a:pt x="241" y="315"/>
                    <a:pt x="241" y="315"/>
                  </a:cubicBezTo>
                  <a:cubicBezTo>
                    <a:pt x="241" y="279"/>
                    <a:pt x="241" y="279"/>
                    <a:pt x="241" y="279"/>
                  </a:cubicBezTo>
                  <a:cubicBezTo>
                    <a:pt x="267" y="293"/>
                    <a:pt x="267" y="293"/>
                    <a:pt x="267" y="293"/>
                  </a:cubicBezTo>
                  <a:lnTo>
                    <a:pt x="267" y="302"/>
                  </a:lnTo>
                  <a:close/>
                  <a:moveTo>
                    <a:pt x="238" y="316"/>
                  </a:moveTo>
                  <a:cubicBezTo>
                    <a:pt x="232" y="319"/>
                    <a:pt x="232" y="319"/>
                    <a:pt x="232" y="319"/>
                  </a:cubicBezTo>
                  <a:cubicBezTo>
                    <a:pt x="232" y="275"/>
                    <a:pt x="232" y="275"/>
                    <a:pt x="232" y="275"/>
                  </a:cubicBezTo>
                  <a:cubicBezTo>
                    <a:pt x="238" y="278"/>
                    <a:pt x="238" y="278"/>
                    <a:pt x="238" y="278"/>
                  </a:cubicBezTo>
                  <a:lnTo>
                    <a:pt x="238" y="316"/>
                  </a:lnTo>
                  <a:close/>
                  <a:moveTo>
                    <a:pt x="203" y="343"/>
                  </a:moveTo>
                  <a:cubicBezTo>
                    <a:pt x="283" y="305"/>
                    <a:pt x="283" y="305"/>
                    <a:pt x="283" y="305"/>
                  </a:cubicBezTo>
                  <a:cubicBezTo>
                    <a:pt x="406" y="364"/>
                    <a:pt x="406" y="364"/>
                    <a:pt x="406" y="364"/>
                  </a:cubicBezTo>
                  <a:cubicBezTo>
                    <a:pt x="412" y="365"/>
                    <a:pt x="412" y="365"/>
                    <a:pt x="412" y="365"/>
                  </a:cubicBezTo>
                  <a:cubicBezTo>
                    <a:pt x="351" y="397"/>
                    <a:pt x="351" y="397"/>
                    <a:pt x="351" y="397"/>
                  </a:cubicBezTo>
                  <a:cubicBezTo>
                    <a:pt x="337" y="393"/>
                    <a:pt x="323" y="392"/>
                    <a:pt x="309" y="396"/>
                  </a:cubicBezTo>
                  <a:cubicBezTo>
                    <a:pt x="308" y="397"/>
                    <a:pt x="308" y="397"/>
                    <a:pt x="308" y="397"/>
                  </a:cubicBezTo>
                  <a:lnTo>
                    <a:pt x="203" y="343"/>
                  </a:lnTo>
                  <a:close/>
                  <a:moveTo>
                    <a:pt x="525" y="698"/>
                  </a:moveTo>
                  <a:cubicBezTo>
                    <a:pt x="522" y="696"/>
                    <a:pt x="519" y="696"/>
                    <a:pt x="515" y="696"/>
                  </a:cubicBezTo>
                  <a:cubicBezTo>
                    <a:pt x="512" y="694"/>
                    <a:pt x="507" y="691"/>
                    <a:pt x="500" y="689"/>
                  </a:cubicBezTo>
                  <a:cubicBezTo>
                    <a:pt x="500" y="677"/>
                    <a:pt x="500" y="666"/>
                    <a:pt x="499" y="654"/>
                  </a:cubicBezTo>
                  <a:cubicBezTo>
                    <a:pt x="505" y="657"/>
                    <a:pt x="505" y="657"/>
                    <a:pt x="505" y="657"/>
                  </a:cubicBezTo>
                  <a:cubicBezTo>
                    <a:pt x="505" y="601"/>
                    <a:pt x="505" y="601"/>
                    <a:pt x="505" y="601"/>
                  </a:cubicBezTo>
                  <a:cubicBezTo>
                    <a:pt x="488" y="592"/>
                    <a:pt x="488" y="592"/>
                    <a:pt x="488" y="592"/>
                  </a:cubicBezTo>
                  <a:cubicBezTo>
                    <a:pt x="486" y="584"/>
                    <a:pt x="484" y="577"/>
                    <a:pt x="482" y="569"/>
                  </a:cubicBezTo>
                  <a:cubicBezTo>
                    <a:pt x="482" y="569"/>
                    <a:pt x="481" y="568"/>
                    <a:pt x="481" y="568"/>
                  </a:cubicBezTo>
                  <a:cubicBezTo>
                    <a:pt x="505" y="581"/>
                    <a:pt x="505" y="581"/>
                    <a:pt x="505" y="581"/>
                  </a:cubicBezTo>
                  <a:cubicBezTo>
                    <a:pt x="505" y="524"/>
                    <a:pt x="505" y="524"/>
                    <a:pt x="505" y="524"/>
                  </a:cubicBezTo>
                  <a:cubicBezTo>
                    <a:pt x="451" y="496"/>
                    <a:pt x="451" y="496"/>
                    <a:pt x="451" y="496"/>
                  </a:cubicBezTo>
                  <a:cubicBezTo>
                    <a:pt x="444" y="484"/>
                    <a:pt x="437" y="473"/>
                    <a:pt x="430" y="463"/>
                  </a:cubicBezTo>
                  <a:cubicBezTo>
                    <a:pt x="525" y="511"/>
                    <a:pt x="525" y="511"/>
                    <a:pt x="525" y="511"/>
                  </a:cubicBezTo>
                  <a:lnTo>
                    <a:pt x="525" y="698"/>
                  </a:lnTo>
                  <a:close/>
                  <a:moveTo>
                    <a:pt x="424" y="455"/>
                  </a:moveTo>
                  <a:cubicBezTo>
                    <a:pt x="419" y="449"/>
                    <a:pt x="415" y="444"/>
                    <a:pt x="410" y="438"/>
                  </a:cubicBezTo>
                  <a:cubicBezTo>
                    <a:pt x="481" y="405"/>
                    <a:pt x="481" y="405"/>
                    <a:pt x="481" y="405"/>
                  </a:cubicBezTo>
                  <a:cubicBezTo>
                    <a:pt x="604" y="464"/>
                    <a:pt x="604" y="464"/>
                    <a:pt x="604" y="464"/>
                  </a:cubicBezTo>
                  <a:cubicBezTo>
                    <a:pt x="610" y="465"/>
                    <a:pt x="610" y="465"/>
                    <a:pt x="610" y="465"/>
                  </a:cubicBezTo>
                  <a:cubicBezTo>
                    <a:pt x="528" y="508"/>
                    <a:pt x="528" y="508"/>
                    <a:pt x="528" y="508"/>
                  </a:cubicBezTo>
                  <a:lnTo>
                    <a:pt x="424" y="455"/>
                  </a:lnTo>
                  <a:close/>
                  <a:moveTo>
                    <a:pt x="749" y="239"/>
                  </a:moveTo>
                  <a:cubicBezTo>
                    <a:pt x="745" y="241"/>
                    <a:pt x="745" y="241"/>
                    <a:pt x="745" y="241"/>
                  </a:cubicBezTo>
                  <a:cubicBezTo>
                    <a:pt x="745" y="273"/>
                    <a:pt x="745" y="273"/>
                    <a:pt x="745" y="273"/>
                  </a:cubicBezTo>
                  <a:cubicBezTo>
                    <a:pt x="724" y="285"/>
                    <a:pt x="724" y="285"/>
                    <a:pt x="724" y="285"/>
                  </a:cubicBezTo>
                  <a:cubicBezTo>
                    <a:pt x="724" y="236"/>
                    <a:pt x="724" y="236"/>
                    <a:pt x="724" y="236"/>
                  </a:cubicBezTo>
                  <a:cubicBezTo>
                    <a:pt x="749" y="223"/>
                    <a:pt x="749" y="223"/>
                    <a:pt x="749" y="223"/>
                  </a:cubicBezTo>
                  <a:lnTo>
                    <a:pt x="749" y="239"/>
                  </a:lnTo>
                  <a:close/>
                  <a:moveTo>
                    <a:pt x="189" y="452"/>
                  </a:moveTo>
                  <a:cubicBezTo>
                    <a:pt x="171" y="463"/>
                    <a:pt x="171" y="463"/>
                    <a:pt x="171" y="463"/>
                  </a:cubicBezTo>
                  <a:cubicBezTo>
                    <a:pt x="171" y="414"/>
                    <a:pt x="171" y="414"/>
                    <a:pt x="171" y="414"/>
                  </a:cubicBezTo>
                  <a:cubicBezTo>
                    <a:pt x="189" y="404"/>
                    <a:pt x="189" y="404"/>
                    <a:pt x="189" y="404"/>
                  </a:cubicBezTo>
                  <a:lnTo>
                    <a:pt x="189" y="452"/>
                  </a:lnTo>
                  <a:close/>
                  <a:moveTo>
                    <a:pt x="276" y="540"/>
                  </a:moveTo>
                  <a:cubicBezTo>
                    <a:pt x="226" y="513"/>
                    <a:pt x="226" y="513"/>
                    <a:pt x="226" y="513"/>
                  </a:cubicBezTo>
                  <a:cubicBezTo>
                    <a:pt x="225" y="516"/>
                    <a:pt x="225" y="516"/>
                    <a:pt x="225" y="516"/>
                  </a:cubicBezTo>
                  <a:cubicBezTo>
                    <a:pt x="230" y="498"/>
                    <a:pt x="230" y="498"/>
                    <a:pt x="230" y="498"/>
                  </a:cubicBezTo>
                  <a:cubicBezTo>
                    <a:pt x="233" y="478"/>
                    <a:pt x="238" y="461"/>
                    <a:pt x="245" y="446"/>
                  </a:cubicBezTo>
                  <a:cubicBezTo>
                    <a:pt x="246" y="445"/>
                    <a:pt x="247" y="444"/>
                    <a:pt x="247" y="443"/>
                  </a:cubicBezTo>
                  <a:cubicBezTo>
                    <a:pt x="251" y="432"/>
                    <a:pt x="251" y="432"/>
                    <a:pt x="251" y="432"/>
                  </a:cubicBezTo>
                  <a:cubicBezTo>
                    <a:pt x="276" y="445"/>
                    <a:pt x="276" y="445"/>
                    <a:pt x="276" y="445"/>
                  </a:cubicBezTo>
                  <a:lnTo>
                    <a:pt x="276" y="540"/>
                  </a:lnTo>
                  <a:close/>
                  <a:moveTo>
                    <a:pt x="225" y="385"/>
                  </a:moveTo>
                  <a:cubicBezTo>
                    <a:pt x="247" y="397"/>
                    <a:pt x="247" y="397"/>
                    <a:pt x="247" y="397"/>
                  </a:cubicBezTo>
                  <a:cubicBezTo>
                    <a:pt x="247" y="426"/>
                    <a:pt x="247" y="426"/>
                    <a:pt x="247" y="426"/>
                  </a:cubicBezTo>
                  <a:cubicBezTo>
                    <a:pt x="244" y="430"/>
                    <a:pt x="241" y="435"/>
                    <a:pt x="238" y="440"/>
                  </a:cubicBezTo>
                  <a:cubicBezTo>
                    <a:pt x="225" y="432"/>
                    <a:pt x="225" y="432"/>
                    <a:pt x="225" y="432"/>
                  </a:cubicBezTo>
                  <a:lnTo>
                    <a:pt x="225" y="385"/>
                  </a:lnTo>
                  <a:close/>
                  <a:moveTo>
                    <a:pt x="251" y="422"/>
                  </a:moveTo>
                  <a:cubicBezTo>
                    <a:pt x="251" y="399"/>
                    <a:pt x="251" y="399"/>
                    <a:pt x="251" y="399"/>
                  </a:cubicBezTo>
                  <a:cubicBezTo>
                    <a:pt x="268" y="408"/>
                    <a:pt x="268" y="408"/>
                    <a:pt x="268" y="408"/>
                  </a:cubicBezTo>
                  <a:cubicBezTo>
                    <a:pt x="262" y="412"/>
                    <a:pt x="256" y="416"/>
                    <a:pt x="251" y="422"/>
                  </a:cubicBezTo>
                  <a:close/>
                  <a:moveTo>
                    <a:pt x="225" y="477"/>
                  </a:moveTo>
                  <a:cubicBezTo>
                    <a:pt x="225" y="462"/>
                    <a:pt x="225" y="462"/>
                    <a:pt x="225" y="462"/>
                  </a:cubicBezTo>
                  <a:cubicBezTo>
                    <a:pt x="228" y="464"/>
                    <a:pt x="228" y="464"/>
                    <a:pt x="228" y="464"/>
                  </a:cubicBezTo>
                  <a:cubicBezTo>
                    <a:pt x="227" y="468"/>
                    <a:pt x="226" y="473"/>
                    <a:pt x="225" y="477"/>
                  </a:cubicBezTo>
                  <a:close/>
                  <a:moveTo>
                    <a:pt x="652" y="490"/>
                  </a:moveTo>
                  <a:cubicBezTo>
                    <a:pt x="676" y="503"/>
                    <a:pt x="676" y="503"/>
                    <a:pt x="676" y="503"/>
                  </a:cubicBezTo>
                  <a:cubicBezTo>
                    <a:pt x="676" y="552"/>
                    <a:pt x="676" y="552"/>
                    <a:pt x="676" y="552"/>
                  </a:cubicBezTo>
                  <a:cubicBezTo>
                    <a:pt x="652" y="538"/>
                    <a:pt x="652" y="538"/>
                    <a:pt x="652" y="538"/>
                  </a:cubicBezTo>
                  <a:lnTo>
                    <a:pt x="652" y="490"/>
                  </a:lnTo>
                  <a:close/>
                  <a:moveTo>
                    <a:pt x="648" y="537"/>
                  </a:moveTo>
                  <a:cubicBezTo>
                    <a:pt x="623" y="523"/>
                    <a:pt x="623" y="523"/>
                    <a:pt x="623" y="523"/>
                  </a:cubicBezTo>
                  <a:cubicBezTo>
                    <a:pt x="623" y="475"/>
                    <a:pt x="623" y="475"/>
                    <a:pt x="623" y="475"/>
                  </a:cubicBezTo>
                  <a:cubicBezTo>
                    <a:pt x="648" y="489"/>
                    <a:pt x="648" y="489"/>
                    <a:pt x="648" y="489"/>
                  </a:cubicBezTo>
                  <a:lnTo>
                    <a:pt x="648" y="537"/>
                  </a:lnTo>
                  <a:close/>
                  <a:moveTo>
                    <a:pt x="886" y="310"/>
                  </a:moveTo>
                  <a:cubicBezTo>
                    <a:pt x="759" y="245"/>
                    <a:pt x="759" y="245"/>
                    <a:pt x="759" y="245"/>
                  </a:cubicBezTo>
                  <a:cubicBezTo>
                    <a:pt x="839" y="207"/>
                    <a:pt x="839" y="207"/>
                    <a:pt x="839" y="207"/>
                  </a:cubicBezTo>
                  <a:cubicBezTo>
                    <a:pt x="961" y="266"/>
                    <a:pt x="961" y="266"/>
                    <a:pt x="961" y="266"/>
                  </a:cubicBezTo>
                  <a:cubicBezTo>
                    <a:pt x="968" y="267"/>
                    <a:pt x="968" y="267"/>
                    <a:pt x="968" y="267"/>
                  </a:cubicBezTo>
                  <a:lnTo>
                    <a:pt x="886" y="310"/>
                  </a:lnTo>
                  <a:close/>
                  <a:moveTo>
                    <a:pt x="752" y="237"/>
                  </a:moveTo>
                  <a:cubicBezTo>
                    <a:pt x="752" y="218"/>
                    <a:pt x="752" y="218"/>
                    <a:pt x="752" y="218"/>
                  </a:cubicBezTo>
                  <a:cubicBezTo>
                    <a:pt x="720" y="234"/>
                    <a:pt x="720" y="234"/>
                    <a:pt x="720" y="234"/>
                  </a:cubicBezTo>
                  <a:cubicBezTo>
                    <a:pt x="720" y="291"/>
                    <a:pt x="720" y="291"/>
                    <a:pt x="720" y="291"/>
                  </a:cubicBezTo>
                  <a:cubicBezTo>
                    <a:pt x="745" y="277"/>
                    <a:pt x="745" y="277"/>
                    <a:pt x="745" y="277"/>
                  </a:cubicBezTo>
                  <a:cubicBezTo>
                    <a:pt x="745" y="298"/>
                    <a:pt x="745" y="298"/>
                    <a:pt x="745" y="298"/>
                  </a:cubicBezTo>
                  <a:cubicBezTo>
                    <a:pt x="720" y="310"/>
                    <a:pt x="720" y="310"/>
                    <a:pt x="720" y="310"/>
                  </a:cubicBezTo>
                  <a:cubicBezTo>
                    <a:pt x="720" y="326"/>
                    <a:pt x="720" y="326"/>
                    <a:pt x="720" y="326"/>
                  </a:cubicBezTo>
                  <a:cubicBezTo>
                    <a:pt x="696" y="314"/>
                    <a:pt x="696" y="314"/>
                    <a:pt x="696" y="314"/>
                  </a:cubicBezTo>
                  <a:cubicBezTo>
                    <a:pt x="696" y="215"/>
                    <a:pt x="696" y="215"/>
                    <a:pt x="696" y="215"/>
                  </a:cubicBezTo>
                  <a:cubicBezTo>
                    <a:pt x="776" y="172"/>
                    <a:pt x="776" y="172"/>
                    <a:pt x="776" y="172"/>
                  </a:cubicBezTo>
                  <a:cubicBezTo>
                    <a:pt x="776" y="226"/>
                    <a:pt x="776" y="226"/>
                    <a:pt x="776" y="226"/>
                  </a:cubicBezTo>
                  <a:lnTo>
                    <a:pt x="752" y="237"/>
                  </a:lnTo>
                  <a:close/>
                  <a:moveTo>
                    <a:pt x="694" y="210"/>
                  </a:moveTo>
                  <a:cubicBezTo>
                    <a:pt x="567" y="145"/>
                    <a:pt x="567" y="145"/>
                    <a:pt x="567" y="145"/>
                  </a:cubicBezTo>
                  <a:cubicBezTo>
                    <a:pt x="647" y="107"/>
                    <a:pt x="647" y="107"/>
                    <a:pt x="647" y="107"/>
                  </a:cubicBezTo>
                  <a:cubicBezTo>
                    <a:pt x="769" y="166"/>
                    <a:pt x="769" y="166"/>
                    <a:pt x="769" y="166"/>
                  </a:cubicBezTo>
                  <a:cubicBezTo>
                    <a:pt x="776" y="167"/>
                    <a:pt x="776" y="167"/>
                    <a:pt x="776" y="167"/>
                  </a:cubicBezTo>
                  <a:lnTo>
                    <a:pt x="694" y="210"/>
                  </a:lnTo>
                  <a:close/>
                  <a:moveTo>
                    <a:pt x="563" y="137"/>
                  </a:moveTo>
                  <a:cubicBezTo>
                    <a:pt x="563" y="121"/>
                    <a:pt x="563" y="121"/>
                    <a:pt x="563" y="121"/>
                  </a:cubicBezTo>
                  <a:cubicBezTo>
                    <a:pt x="531" y="137"/>
                    <a:pt x="531" y="137"/>
                    <a:pt x="531" y="137"/>
                  </a:cubicBezTo>
                  <a:cubicBezTo>
                    <a:pt x="531" y="194"/>
                    <a:pt x="531" y="194"/>
                    <a:pt x="531" y="194"/>
                  </a:cubicBezTo>
                  <a:cubicBezTo>
                    <a:pt x="553" y="182"/>
                    <a:pt x="553" y="182"/>
                    <a:pt x="553" y="182"/>
                  </a:cubicBezTo>
                  <a:cubicBezTo>
                    <a:pt x="553" y="203"/>
                    <a:pt x="553" y="203"/>
                    <a:pt x="553" y="203"/>
                  </a:cubicBezTo>
                  <a:cubicBezTo>
                    <a:pt x="531" y="214"/>
                    <a:pt x="531" y="214"/>
                    <a:pt x="531" y="214"/>
                  </a:cubicBezTo>
                  <a:cubicBezTo>
                    <a:pt x="531" y="228"/>
                    <a:pt x="531" y="228"/>
                    <a:pt x="531" y="228"/>
                  </a:cubicBezTo>
                  <a:cubicBezTo>
                    <a:pt x="506" y="216"/>
                    <a:pt x="506" y="216"/>
                    <a:pt x="506" y="216"/>
                  </a:cubicBezTo>
                  <a:cubicBezTo>
                    <a:pt x="506" y="118"/>
                    <a:pt x="506" y="118"/>
                    <a:pt x="506" y="118"/>
                  </a:cubicBezTo>
                  <a:cubicBezTo>
                    <a:pt x="587" y="76"/>
                    <a:pt x="587" y="76"/>
                    <a:pt x="587" y="76"/>
                  </a:cubicBezTo>
                  <a:cubicBezTo>
                    <a:pt x="587" y="125"/>
                    <a:pt x="587" y="125"/>
                    <a:pt x="587" y="125"/>
                  </a:cubicBezTo>
                  <a:lnTo>
                    <a:pt x="563" y="137"/>
                  </a:lnTo>
                  <a:close/>
                  <a:moveTo>
                    <a:pt x="504" y="114"/>
                  </a:moveTo>
                  <a:cubicBezTo>
                    <a:pt x="377" y="49"/>
                    <a:pt x="377" y="49"/>
                    <a:pt x="377" y="49"/>
                  </a:cubicBezTo>
                  <a:cubicBezTo>
                    <a:pt x="457" y="11"/>
                    <a:pt x="457" y="11"/>
                    <a:pt x="457" y="11"/>
                  </a:cubicBezTo>
                  <a:cubicBezTo>
                    <a:pt x="580" y="70"/>
                    <a:pt x="580" y="70"/>
                    <a:pt x="580" y="70"/>
                  </a:cubicBezTo>
                  <a:cubicBezTo>
                    <a:pt x="586" y="71"/>
                    <a:pt x="586" y="71"/>
                    <a:pt x="586" y="71"/>
                  </a:cubicBezTo>
                  <a:lnTo>
                    <a:pt x="504" y="114"/>
                  </a:lnTo>
                  <a:close/>
                  <a:moveTo>
                    <a:pt x="373" y="52"/>
                  </a:moveTo>
                  <a:cubicBezTo>
                    <a:pt x="502" y="117"/>
                    <a:pt x="502" y="117"/>
                    <a:pt x="502" y="117"/>
                  </a:cubicBezTo>
                  <a:cubicBezTo>
                    <a:pt x="502" y="214"/>
                    <a:pt x="502" y="214"/>
                    <a:pt x="502" y="214"/>
                  </a:cubicBezTo>
                  <a:cubicBezTo>
                    <a:pt x="463" y="195"/>
                    <a:pt x="463" y="195"/>
                    <a:pt x="463" y="195"/>
                  </a:cubicBezTo>
                  <a:cubicBezTo>
                    <a:pt x="461" y="196"/>
                    <a:pt x="461" y="196"/>
                    <a:pt x="461" y="196"/>
                  </a:cubicBezTo>
                  <a:cubicBezTo>
                    <a:pt x="412" y="170"/>
                    <a:pt x="412" y="170"/>
                    <a:pt x="412" y="170"/>
                  </a:cubicBezTo>
                  <a:cubicBezTo>
                    <a:pt x="412" y="166"/>
                    <a:pt x="412" y="166"/>
                    <a:pt x="412" y="166"/>
                  </a:cubicBezTo>
                  <a:cubicBezTo>
                    <a:pt x="373" y="147"/>
                    <a:pt x="373" y="147"/>
                    <a:pt x="373" y="147"/>
                  </a:cubicBezTo>
                  <a:lnTo>
                    <a:pt x="373" y="52"/>
                  </a:lnTo>
                  <a:close/>
                  <a:moveTo>
                    <a:pt x="396" y="168"/>
                  </a:moveTo>
                  <a:cubicBezTo>
                    <a:pt x="403" y="169"/>
                    <a:pt x="403" y="169"/>
                    <a:pt x="403" y="169"/>
                  </a:cubicBezTo>
                  <a:cubicBezTo>
                    <a:pt x="321" y="212"/>
                    <a:pt x="321" y="212"/>
                    <a:pt x="321" y="212"/>
                  </a:cubicBezTo>
                  <a:cubicBezTo>
                    <a:pt x="193" y="147"/>
                    <a:pt x="193" y="147"/>
                    <a:pt x="193" y="147"/>
                  </a:cubicBezTo>
                  <a:cubicBezTo>
                    <a:pt x="274" y="109"/>
                    <a:pt x="274" y="109"/>
                    <a:pt x="274" y="109"/>
                  </a:cubicBezTo>
                  <a:lnTo>
                    <a:pt x="396" y="168"/>
                  </a:lnTo>
                  <a:close/>
                  <a:moveTo>
                    <a:pt x="189" y="150"/>
                  </a:moveTo>
                  <a:cubicBezTo>
                    <a:pt x="318" y="216"/>
                    <a:pt x="318" y="216"/>
                    <a:pt x="318" y="216"/>
                  </a:cubicBezTo>
                  <a:cubicBezTo>
                    <a:pt x="318" y="311"/>
                    <a:pt x="318" y="311"/>
                    <a:pt x="318" y="311"/>
                  </a:cubicBezTo>
                  <a:cubicBezTo>
                    <a:pt x="283" y="295"/>
                    <a:pt x="283" y="295"/>
                    <a:pt x="283" y="295"/>
                  </a:cubicBezTo>
                  <a:cubicBezTo>
                    <a:pt x="280" y="296"/>
                    <a:pt x="280" y="296"/>
                    <a:pt x="280" y="296"/>
                  </a:cubicBezTo>
                  <a:cubicBezTo>
                    <a:pt x="232" y="271"/>
                    <a:pt x="232" y="271"/>
                    <a:pt x="232" y="271"/>
                  </a:cubicBezTo>
                  <a:cubicBezTo>
                    <a:pt x="232" y="265"/>
                    <a:pt x="232" y="265"/>
                    <a:pt x="232" y="265"/>
                  </a:cubicBezTo>
                  <a:cubicBezTo>
                    <a:pt x="189" y="244"/>
                    <a:pt x="189" y="244"/>
                    <a:pt x="189" y="244"/>
                  </a:cubicBezTo>
                  <a:lnTo>
                    <a:pt x="189" y="150"/>
                  </a:lnTo>
                  <a:close/>
                  <a:moveTo>
                    <a:pt x="216" y="268"/>
                  </a:moveTo>
                  <a:cubicBezTo>
                    <a:pt x="223" y="269"/>
                    <a:pt x="223" y="269"/>
                    <a:pt x="223" y="269"/>
                  </a:cubicBezTo>
                  <a:cubicBezTo>
                    <a:pt x="141" y="312"/>
                    <a:pt x="141" y="312"/>
                    <a:pt x="141" y="312"/>
                  </a:cubicBezTo>
                  <a:cubicBezTo>
                    <a:pt x="13" y="247"/>
                    <a:pt x="13" y="247"/>
                    <a:pt x="13" y="247"/>
                  </a:cubicBezTo>
                  <a:cubicBezTo>
                    <a:pt x="94" y="208"/>
                    <a:pt x="94" y="208"/>
                    <a:pt x="94" y="208"/>
                  </a:cubicBezTo>
                  <a:lnTo>
                    <a:pt x="216" y="268"/>
                  </a:lnTo>
                  <a:close/>
                  <a:moveTo>
                    <a:pt x="9" y="250"/>
                  </a:moveTo>
                  <a:cubicBezTo>
                    <a:pt x="138" y="315"/>
                    <a:pt x="138" y="315"/>
                    <a:pt x="138" y="315"/>
                  </a:cubicBezTo>
                  <a:cubicBezTo>
                    <a:pt x="138" y="539"/>
                    <a:pt x="138" y="539"/>
                    <a:pt x="138" y="539"/>
                  </a:cubicBezTo>
                  <a:cubicBezTo>
                    <a:pt x="9" y="472"/>
                    <a:pt x="9" y="472"/>
                    <a:pt x="9" y="472"/>
                  </a:cubicBezTo>
                  <a:lnTo>
                    <a:pt x="9" y="250"/>
                  </a:lnTo>
                  <a:close/>
                  <a:moveTo>
                    <a:pt x="142" y="316"/>
                  </a:moveTo>
                  <a:cubicBezTo>
                    <a:pt x="223" y="273"/>
                    <a:pt x="223" y="273"/>
                    <a:pt x="223" y="273"/>
                  </a:cubicBezTo>
                  <a:cubicBezTo>
                    <a:pt x="223" y="323"/>
                    <a:pt x="223" y="323"/>
                    <a:pt x="223" y="323"/>
                  </a:cubicBezTo>
                  <a:cubicBezTo>
                    <a:pt x="199" y="335"/>
                    <a:pt x="199" y="335"/>
                    <a:pt x="199" y="335"/>
                  </a:cubicBezTo>
                  <a:cubicBezTo>
                    <a:pt x="199" y="319"/>
                    <a:pt x="199" y="319"/>
                    <a:pt x="199" y="319"/>
                  </a:cubicBezTo>
                  <a:cubicBezTo>
                    <a:pt x="167" y="335"/>
                    <a:pt x="167" y="335"/>
                    <a:pt x="167" y="335"/>
                  </a:cubicBezTo>
                  <a:cubicBezTo>
                    <a:pt x="167" y="392"/>
                    <a:pt x="167" y="392"/>
                    <a:pt x="167" y="392"/>
                  </a:cubicBezTo>
                  <a:cubicBezTo>
                    <a:pt x="189" y="380"/>
                    <a:pt x="189" y="380"/>
                    <a:pt x="189" y="380"/>
                  </a:cubicBezTo>
                  <a:cubicBezTo>
                    <a:pt x="189" y="400"/>
                    <a:pt x="189" y="400"/>
                    <a:pt x="189" y="400"/>
                  </a:cubicBezTo>
                  <a:cubicBezTo>
                    <a:pt x="167" y="412"/>
                    <a:pt x="167" y="412"/>
                    <a:pt x="167" y="412"/>
                  </a:cubicBezTo>
                  <a:cubicBezTo>
                    <a:pt x="167" y="469"/>
                    <a:pt x="167" y="469"/>
                    <a:pt x="167" y="469"/>
                  </a:cubicBezTo>
                  <a:cubicBezTo>
                    <a:pt x="189" y="456"/>
                    <a:pt x="189" y="456"/>
                    <a:pt x="189" y="456"/>
                  </a:cubicBezTo>
                  <a:cubicBezTo>
                    <a:pt x="189" y="515"/>
                    <a:pt x="189" y="515"/>
                    <a:pt x="189" y="515"/>
                  </a:cubicBezTo>
                  <a:cubicBezTo>
                    <a:pt x="142" y="540"/>
                    <a:pt x="142" y="540"/>
                    <a:pt x="142" y="540"/>
                  </a:cubicBezTo>
                  <a:lnTo>
                    <a:pt x="142" y="316"/>
                  </a:lnTo>
                  <a:close/>
                  <a:moveTo>
                    <a:pt x="283" y="701"/>
                  </a:moveTo>
                  <a:cubicBezTo>
                    <a:pt x="283" y="590"/>
                    <a:pt x="283" y="590"/>
                    <a:pt x="283" y="590"/>
                  </a:cubicBezTo>
                  <a:cubicBezTo>
                    <a:pt x="230" y="563"/>
                    <a:pt x="230" y="563"/>
                    <a:pt x="230" y="563"/>
                  </a:cubicBezTo>
                  <a:cubicBezTo>
                    <a:pt x="229" y="549"/>
                    <a:pt x="228" y="535"/>
                    <a:pt x="228" y="522"/>
                  </a:cubicBezTo>
                  <a:cubicBezTo>
                    <a:pt x="283" y="551"/>
                    <a:pt x="283" y="551"/>
                    <a:pt x="283" y="551"/>
                  </a:cubicBezTo>
                  <a:cubicBezTo>
                    <a:pt x="283" y="441"/>
                    <a:pt x="283" y="441"/>
                    <a:pt x="283" y="441"/>
                  </a:cubicBezTo>
                  <a:cubicBezTo>
                    <a:pt x="258" y="428"/>
                    <a:pt x="258" y="428"/>
                    <a:pt x="258" y="428"/>
                  </a:cubicBezTo>
                  <a:cubicBezTo>
                    <a:pt x="265" y="420"/>
                    <a:pt x="273" y="415"/>
                    <a:pt x="283" y="412"/>
                  </a:cubicBezTo>
                  <a:cubicBezTo>
                    <a:pt x="288" y="410"/>
                    <a:pt x="293" y="410"/>
                    <a:pt x="298" y="410"/>
                  </a:cubicBezTo>
                  <a:cubicBezTo>
                    <a:pt x="306" y="410"/>
                    <a:pt x="314" y="411"/>
                    <a:pt x="322" y="414"/>
                  </a:cubicBezTo>
                  <a:cubicBezTo>
                    <a:pt x="322" y="774"/>
                    <a:pt x="322" y="774"/>
                    <a:pt x="322" y="774"/>
                  </a:cubicBezTo>
                  <a:cubicBezTo>
                    <a:pt x="302" y="753"/>
                    <a:pt x="282" y="725"/>
                    <a:pt x="267" y="693"/>
                  </a:cubicBezTo>
                  <a:lnTo>
                    <a:pt x="283" y="701"/>
                  </a:lnTo>
                  <a:close/>
                  <a:moveTo>
                    <a:pt x="331" y="781"/>
                  </a:moveTo>
                  <a:cubicBezTo>
                    <a:pt x="331" y="418"/>
                    <a:pt x="331" y="418"/>
                    <a:pt x="331" y="418"/>
                  </a:cubicBezTo>
                  <a:cubicBezTo>
                    <a:pt x="347" y="426"/>
                    <a:pt x="364" y="440"/>
                    <a:pt x="379" y="458"/>
                  </a:cubicBezTo>
                  <a:cubicBezTo>
                    <a:pt x="379" y="566"/>
                    <a:pt x="379" y="566"/>
                    <a:pt x="379" y="566"/>
                  </a:cubicBezTo>
                  <a:cubicBezTo>
                    <a:pt x="429" y="541"/>
                    <a:pt x="429" y="541"/>
                    <a:pt x="429" y="541"/>
                  </a:cubicBezTo>
                  <a:cubicBezTo>
                    <a:pt x="434" y="551"/>
                    <a:pt x="438" y="562"/>
                    <a:pt x="442" y="573"/>
                  </a:cubicBezTo>
                  <a:cubicBezTo>
                    <a:pt x="379" y="605"/>
                    <a:pt x="379" y="605"/>
                    <a:pt x="379" y="605"/>
                  </a:cubicBezTo>
                  <a:cubicBezTo>
                    <a:pt x="379" y="716"/>
                    <a:pt x="379" y="716"/>
                    <a:pt x="379" y="716"/>
                  </a:cubicBezTo>
                  <a:cubicBezTo>
                    <a:pt x="442" y="681"/>
                    <a:pt x="442" y="681"/>
                    <a:pt x="442" y="681"/>
                  </a:cubicBezTo>
                  <a:cubicBezTo>
                    <a:pt x="442" y="574"/>
                    <a:pt x="442" y="574"/>
                    <a:pt x="442" y="574"/>
                  </a:cubicBezTo>
                  <a:cubicBezTo>
                    <a:pt x="443" y="576"/>
                    <a:pt x="443" y="577"/>
                    <a:pt x="444" y="579"/>
                  </a:cubicBezTo>
                  <a:cubicBezTo>
                    <a:pt x="458" y="624"/>
                    <a:pt x="464" y="668"/>
                    <a:pt x="461" y="706"/>
                  </a:cubicBezTo>
                  <a:cubicBezTo>
                    <a:pt x="455" y="717"/>
                    <a:pt x="454" y="727"/>
                    <a:pt x="458" y="735"/>
                  </a:cubicBezTo>
                  <a:cubicBezTo>
                    <a:pt x="455" y="750"/>
                    <a:pt x="451" y="762"/>
                    <a:pt x="445" y="773"/>
                  </a:cubicBezTo>
                  <a:cubicBezTo>
                    <a:pt x="435" y="791"/>
                    <a:pt x="423" y="803"/>
                    <a:pt x="408" y="808"/>
                  </a:cubicBezTo>
                  <a:cubicBezTo>
                    <a:pt x="403" y="809"/>
                    <a:pt x="397" y="810"/>
                    <a:pt x="392" y="810"/>
                  </a:cubicBezTo>
                  <a:cubicBezTo>
                    <a:pt x="372" y="810"/>
                    <a:pt x="350" y="800"/>
                    <a:pt x="330" y="781"/>
                  </a:cubicBezTo>
                  <a:lnTo>
                    <a:pt x="331" y="781"/>
                  </a:lnTo>
                  <a:close/>
                  <a:moveTo>
                    <a:pt x="435" y="677"/>
                  </a:moveTo>
                  <a:cubicBezTo>
                    <a:pt x="386" y="705"/>
                    <a:pt x="386" y="705"/>
                    <a:pt x="386" y="705"/>
                  </a:cubicBezTo>
                  <a:cubicBezTo>
                    <a:pt x="386" y="609"/>
                    <a:pt x="386" y="609"/>
                    <a:pt x="386" y="609"/>
                  </a:cubicBezTo>
                  <a:cubicBezTo>
                    <a:pt x="435" y="584"/>
                    <a:pt x="435" y="584"/>
                    <a:pt x="435" y="584"/>
                  </a:cubicBezTo>
                  <a:lnTo>
                    <a:pt x="435" y="677"/>
                  </a:lnTo>
                  <a:close/>
                  <a:moveTo>
                    <a:pt x="453" y="778"/>
                  </a:moveTo>
                  <a:cubicBezTo>
                    <a:pt x="458" y="769"/>
                    <a:pt x="462" y="758"/>
                    <a:pt x="465" y="747"/>
                  </a:cubicBezTo>
                  <a:cubicBezTo>
                    <a:pt x="468" y="751"/>
                    <a:pt x="472" y="755"/>
                    <a:pt x="477" y="760"/>
                  </a:cubicBezTo>
                  <a:cubicBezTo>
                    <a:pt x="468" y="781"/>
                    <a:pt x="454" y="796"/>
                    <a:pt x="437" y="801"/>
                  </a:cubicBezTo>
                  <a:cubicBezTo>
                    <a:pt x="436" y="801"/>
                    <a:pt x="436" y="801"/>
                    <a:pt x="436" y="801"/>
                  </a:cubicBezTo>
                  <a:cubicBezTo>
                    <a:pt x="443" y="795"/>
                    <a:pt x="448" y="787"/>
                    <a:pt x="453" y="778"/>
                  </a:cubicBezTo>
                  <a:close/>
                  <a:moveTo>
                    <a:pt x="530" y="701"/>
                  </a:moveTo>
                  <a:cubicBezTo>
                    <a:pt x="530" y="512"/>
                    <a:pt x="530" y="512"/>
                    <a:pt x="530" y="512"/>
                  </a:cubicBezTo>
                  <a:cubicBezTo>
                    <a:pt x="610" y="470"/>
                    <a:pt x="610" y="470"/>
                    <a:pt x="610" y="470"/>
                  </a:cubicBezTo>
                  <a:cubicBezTo>
                    <a:pt x="610" y="693"/>
                    <a:pt x="610" y="693"/>
                    <a:pt x="610" y="693"/>
                  </a:cubicBezTo>
                  <a:cubicBezTo>
                    <a:pt x="558" y="721"/>
                    <a:pt x="558" y="721"/>
                    <a:pt x="558" y="721"/>
                  </a:cubicBezTo>
                  <a:cubicBezTo>
                    <a:pt x="545" y="712"/>
                    <a:pt x="535" y="705"/>
                    <a:pt x="530" y="701"/>
                  </a:cubicBezTo>
                  <a:close/>
                  <a:moveTo>
                    <a:pt x="620" y="525"/>
                  </a:moveTo>
                  <a:cubicBezTo>
                    <a:pt x="680" y="557"/>
                    <a:pt x="680" y="557"/>
                    <a:pt x="680" y="557"/>
                  </a:cubicBezTo>
                  <a:cubicBezTo>
                    <a:pt x="680" y="501"/>
                    <a:pt x="680" y="501"/>
                    <a:pt x="680" y="501"/>
                  </a:cubicBezTo>
                  <a:cubicBezTo>
                    <a:pt x="620" y="470"/>
                    <a:pt x="620" y="470"/>
                    <a:pt x="620" y="470"/>
                  </a:cubicBezTo>
                  <a:cubicBezTo>
                    <a:pt x="620" y="461"/>
                    <a:pt x="620" y="461"/>
                    <a:pt x="620" y="461"/>
                  </a:cubicBezTo>
                  <a:cubicBezTo>
                    <a:pt x="571" y="438"/>
                    <a:pt x="571" y="438"/>
                    <a:pt x="571" y="438"/>
                  </a:cubicBezTo>
                  <a:cubicBezTo>
                    <a:pt x="571" y="346"/>
                    <a:pt x="571" y="346"/>
                    <a:pt x="571" y="346"/>
                  </a:cubicBezTo>
                  <a:cubicBezTo>
                    <a:pt x="700" y="412"/>
                    <a:pt x="700" y="412"/>
                    <a:pt x="700" y="412"/>
                  </a:cubicBezTo>
                  <a:cubicBezTo>
                    <a:pt x="700" y="636"/>
                    <a:pt x="700" y="636"/>
                    <a:pt x="700" y="636"/>
                  </a:cubicBezTo>
                  <a:cubicBezTo>
                    <a:pt x="620" y="594"/>
                    <a:pt x="620" y="594"/>
                    <a:pt x="620" y="594"/>
                  </a:cubicBezTo>
                  <a:lnTo>
                    <a:pt x="620" y="525"/>
                  </a:lnTo>
                  <a:close/>
                  <a:moveTo>
                    <a:pt x="704" y="412"/>
                  </a:moveTo>
                  <a:cubicBezTo>
                    <a:pt x="785" y="370"/>
                    <a:pt x="785" y="370"/>
                    <a:pt x="785" y="370"/>
                  </a:cubicBezTo>
                  <a:cubicBezTo>
                    <a:pt x="785" y="593"/>
                    <a:pt x="785" y="593"/>
                    <a:pt x="785" y="593"/>
                  </a:cubicBezTo>
                  <a:cubicBezTo>
                    <a:pt x="704" y="636"/>
                    <a:pt x="704" y="636"/>
                    <a:pt x="704" y="636"/>
                  </a:cubicBezTo>
                  <a:lnTo>
                    <a:pt x="704" y="412"/>
                  </a:lnTo>
                  <a:close/>
                  <a:moveTo>
                    <a:pt x="794" y="422"/>
                  </a:moveTo>
                  <a:cubicBezTo>
                    <a:pt x="863" y="459"/>
                    <a:pt x="863" y="459"/>
                    <a:pt x="863" y="459"/>
                  </a:cubicBezTo>
                  <a:cubicBezTo>
                    <a:pt x="863" y="402"/>
                    <a:pt x="863" y="402"/>
                    <a:pt x="863" y="402"/>
                  </a:cubicBezTo>
                  <a:cubicBezTo>
                    <a:pt x="794" y="366"/>
                    <a:pt x="794" y="366"/>
                    <a:pt x="794" y="366"/>
                  </a:cubicBezTo>
                  <a:cubicBezTo>
                    <a:pt x="794" y="362"/>
                    <a:pt x="794" y="362"/>
                    <a:pt x="794" y="362"/>
                  </a:cubicBezTo>
                  <a:cubicBezTo>
                    <a:pt x="755" y="343"/>
                    <a:pt x="755" y="343"/>
                    <a:pt x="755" y="343"/>
                  </a:cubicBezTo>
                  <a:cubicBezTo>
                    <a:pt x="755" y="248"/>
                    <a:pt x="755" y="248"/>
                    <a:pt x="755" y="248"/>
                  </a:cubicBezTo>
                  <a:cubicBezTo>
                    <a:pt x="883" y="313"/>
                    <a:pt x="883" y="313"/>
                    <a:pt x="883" y="313"/>
                  </a:cubicBezTo>
                  <a:cubicBezTo>
                    <a:pt x="883" y="537"/>
                    <a:pt x="883" y="537"/>
                    <a:pt x="883" y="537"/>
                  </a:cubicBezTo>
                  <a:cubicBezTo>
                    <a:pt x="794" y="491"/>
                    <a:pt x="794" y="491"/>
                    <a:pt x="794" y="491"/>
                  </a:cubicBezTo>
                  <a:lnTo>
                    <a:pt x="794" y="422"/>
                  </a:lnTo>
                  <a:close/>
                  <a:moveTo>
                    <a:pt x="888" y="314"/>
                  </a:moveTo>
                  <a:cubicBezTo>
                    <a:pt x="968" y="272"/>
                    <a:pt x="968" y="272"/>
                    <a:pt x="968" y="272"/>
                  </a:cubicBezTo>
                  <a:cubicBezTo>
                    <a:pt x="968" y="495"/>
                    <a:pt x="968" y="495"/>
                    <a:pt x="968" y="495"/>
                  </a:cubicBezTo>
                  <a:cubicBezTo>
                    <a:pt x="888" y="538"/>
                    <a:pt x="888" y="538"/>
                    <a:pt x="888" y="538"/>
                  </a:cubicBezTo>
                  <a:lnTo>
                    <a:pt x="888" y="314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5" name="Freeform 358"/>
            <p:cNvSpPr>
              <a:spLocks noEditPoints="1"/>
            </p:cNvSpPr>
            <p:nvPr/>
          </p:nvSpPr>
          <p:spPr bwMode="gray">
            <a:xfrm>
              <a:off x="9715500" y="4519613"/>
              <a:ext cx="304800" cy="360363"/>
            </a:xfrm>
            <a:custGeom>
              <a:avLst/>
              <a:gdLst>
                <a:gd name="T0" fmla="*/ 192 w 192"/>
                <a:gd name="T1" fmla="*/ 100 h 227"/>
                <a:gd name="T2" fmla="*/ 4 w 192"/>
                <a:gd name="T3" fmla="*/ 2 h 227"/>
                <a:gd name="T4" fmla="*/ 0 w 192"/>
                <a:gd name="T5" fmla="*/ 0 h 227"/>
                <a:gd name="T6" fmla="*/ 0 w 192"/>
                <a:gd name="T7" fmla="*/ 122 h 227"/>
                <a:gd name="T8" fmla="*/ 192 w 192"/>
                <a:gd name="T9" fmla="*/ 227 h 227"/>
                <a:gd name="T10" fmla="*/ 192 w 192"/>
                <a:gd name="T11" fmla="*/ 100 h 227"/>
                <a:gd name="T12" fmla="*/ 7 w 192"/>
                <a:gd name="T13" fmla="*/ 13 h 227"/>
                <a:gd name="T14" fmla="*/ 58 w 192"/>
                <a:gd name="T15" fmla="*/ 40 h 227"/>
                <a:gd name="T16" fmla="*/ 58 w 192"/>
                <a:gd name="T17" fmla="*/ 144 h 227"/>
                <a:gd name="T18" fmla="*/ 7 w 192"/>
                <a:gd name="T19" fmla="*/ 118 h 227"/>
                <a:gd name="T20" fmla="*/ 7 w 192"/>
                <a:gd name="T21" fmla="*/ 13 h 227"/>
                <a:gd name="T22" fmla="*/ 64 w 192"/>
                <a:gd name="T23" fmla="*/ 42 h 227"/>
                <a:gd name="T24" fmla="*/ 122 w 192"/>
                <a:gd name="T25" fmla="*/ 73 h 227"/>
                <a:gd name="T26" fmla="*/ 122 w 192"/>
                <a:gd name="T27" fmla="*/ 180 h 227"/>
                <a:gd name="T28" fmla="*/ 64 w 192"/>
                <a:gd name="T29" fmla="*/ 149 h 227"/>
                <a:gd name="T30" fmla="*/ 64 w 192"/>
                <a:gd name="T31" fmla="*/ 42 h 227"/>
                <a:gd name="T32" fmla="*/ 185 w 192"/>
                <a:gd name="T33" fmla="*/ 214 h 227"/>
                <a:gd name="T34" fmla="*/ 129 w 192"/>
                <a:gd name="T35" fmla="*/ 185 h 227"/>
                <a:gd name="T36" fmla="*/ 129 w 192"/>
                <a:gd name="T37" fmla="*/ 75 h 227"/>
                <a:gd name="T38" fmla="*/ 185 w 192"/>
                <a:gd name="T39" fmla="*/ 104 h 227"/>
                <a:gd name="T40" fmla="*/ 185 w 192"/>
                <a:gd name="T41" fmla="*/ 21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27">
                  <a:moveTo>
                    <a:pt x="192" y="100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122"/>
                  </a:lnTo>
                  <a:lnTo>
                    <a:pt x="192" y="227"/>
                  </a:lnTo>
                  <a:lnTo>
                    <a:pt x="192" y="100"/>
                  </a:lnTo>
                  <a:close/>
                  <a:moveTo>
                    <a:pt x="7" y="13"/>
                  </a:moveTo>
                  <a:lnTo>
                    <a:pt x="58" y="40"/>
                  </a:lnTo>
                  <a:lnTo>
                    <a:pt x="58" y="144"/>
                  </a:lnTo>
                  <a:lnTo>
                    <a:pt x="7" y="118"/>
                  </a:lnTo>
                  <a:lnTo>
                    <a:pt x="7" y="13"/>
                  </a:lnTo>
                  <a:close/>
                  <a:moveTo>
                    <a:pt x="64" y="42"/>
                  </a:moveTo>
                  <a:lnTo>
                    <a:pt x="122" y="73"/>
                  </a:lnTo>
                  <a:lnTo>
                    <a:pt x="122" y="180"/>
                  </a:lnTo>
                  <a:lnTo>
                    <a:pt x="64" y="149"/>
                  </a:lnTo>
                  <a:lnTo>
                    <a:pt x="64" y="42"/>
                  </a:lnTo>
                  <a:close/>
                  <a:moveTo>
                    <a:pt x="185" y="214"/>
                  </a:moveTo>
                  <a:lnTo>
                    <a:pt x="129" y="185"/>
                  </a:lnTo>
                  <a:lnTo>
                    <a:pt x="129" y="75"/>
                  </a:lnTo>
                  <a:lnTo>
                    <a:pt x="185" y="104"/>
                  </a:lnTo>
                  <a:lnTo>
                    <a:pt x="185" y="214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6" name="Freeform 359"/>
            <p:cNvSpPr>
              <a:spLocks noEditPoints="1"/>
            </p:cNvSpPr>
            <p:nvPr/>
          </p:nvSpPr>
          <p:spPr bwMode="gray">
            <a:xfrm>
              <a:off x="10196513" y="4646613"/>
              <a:ext cx="112713" cy="258763"/>
            </a:xfrm>
            <a:custGeom>
              <a:avLst/>
              <a:gdLst>
                <a:gd name="T0" fmla="*/ 71 w 71"/>
                <a:gd name="T1" fmla="*/ 0 h 163"/>
                <a:gd name="T2" fmla="*/ 0 w 71"/>
                <a:gd name="T3" fmla="*/ 35 h 163"/>
                <a:gd name="T4" fmla="*/ 0 w 71"/>
                <a:gd name="T5" fmla="*/ 163 h 163"/>
                <a:gd name="T6" fmla="*/ 71 w 71"/>
                <a:gd name="T7" fmla="*/ 122 h 163"/>
                <a:gd name="T8" fmla="*/ 71 w 71"/>
                <a:gd name="T9" fmla="*/ 0 h 163"/>
                <a:gd name="T10" fmla="*/ 62 w 71"/>
                <a:gd name="T11" fmla="*/ 118 h 163"/>
                <a:gd name="T12" fmla="*/ 7 w 71"/>
                <a:gd name="T13" fmla="*/ 149 h 163"/>
                <a:gd name="T14" fmla="*/ 7 w 71"/>
                <a:gd name="T15" fmla="*/ 42 h 163"/>
                <a:gd name="T16" fmla="*/ 62 w 71"/>
                <a:gd name="T17" fmla="*/ 13 h 163"/>
                <a:gd name="T18" fmla="*/ 62 w 71"/>
                <a:gd name="T19" fmla="*/ 11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163">
                  <a:moveTo>
                    <a:pt x="71" y="0"/>
                  </a:moveTo>
                  <a:lnTo>
                    <a:pt x="0" y="35"/>
                  </a:lnTo>
                  <a:lnTo>
                    <a:pt x="0" y="163"/>
                  </a:lnTo>
                  <a:lnTo>
                    <a:pt x="71" y="122"/>
                  </a:lnTo>
                  <a:lnTo>
                    <a:pt x="71" y="0"/>
                  </a:lnTo>
                  <a:close/>
                  <a:moveTo>
                    <a:pt x="62" y="118"/>
                  </a:moveTo>
                  <a:lnTo>
                    <a:pt x="7" y="149"/>
                  </a:lnTo>
                  <a:lnTo>
                    <a:pt x="7" y="42"/>
                  </a:lnTo>
                  <a:lnTo>
                    <a:pt x="62" y="13"/>
                  </a:lnTo>
                  <a:lnTo>
                    <a:pt x="62" y="118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7" name="Freeform 360"/>
            <p:cNvSpPr>
              <a:spLocks noEditPoints="1"/>
            </p:cNvSpPr>
            <p:nvPr/>
          </p:nvSpPr>
          <p:spPr bwMode="gray">
            <a:xfrm>
              <a:off x="10196513" y="4918075"/>
              <a:ext cx="112713" cy="258763"/>
            </a:xfrm>
            <a:custGeom>
              <a:avLst/>
              <a:gdLst>
                <a:gd name="T0" fmla="*/ 71 w 71"/>
                <a:gd name="T1" fmla="*/ 0 h 163"/>
                <a:gd name="T2" fmla="*/ 0 w 71"/>
                <a:gd name="T3" fmla="*/ 36 h 163"/>
                <a:gd name="T4" fmla="*/ 0 w 71"/>
                <a:gd name="T5" fmla="*/ 163 h 163"/>
                <a:gd name="T6" fmla="*/ 71 w 71"/>
                <a:gd name="T7" fmla="*/ 121 h 163"/>
                <a:gd name="T8" fmla="*/ 71 w 71"/>
                <a:gd name="T9" fmla="*/ 0 h 163"/>
                <a:gd name="T10" fmla="*/ 62 w 71"/>
                <a:gd name="T11" fmla="*/ 116 h 163"/>
                <a:gd name="T12" fmla="*/ 7 w 71"/>
                <a:gd name="T13" fmla="*/ 150 h 163"/>
                <a:gd name="T14" fmla="*/ 7 w 71"/>
                <a:gd name="T15" fmla="*/ 41 h 163"/>
                <a:gd name="T16" fmla="*/ 62 w 71"/>
                <a:gd name="T17" fmla="*/ 12 h 163"/>
                <a:gd name="T18" fmla="*/ 62 w 71"/>
                <a:gd name="T19" fmla="*/ 11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163">
                  <a:moveTo>
                    <a:pt x="71" y="0"/>
                  </a:moveTo>
                  <a:lnTo>
                    <a:pt x="0" y="36"/>
                  </a:lnTo>
                  <a:lnTo>
                    <a:pt x="0" y="163"/>
                  </a:lnTo>
                  <a:lnTo>
                    <a:pt x="71" y="121"/>
                  </a:lnTo>
                  <a:lnTo>
                    <a:pt x="71" y="0"/>
                  </a:lnTo>
                  <a:close/>
                  <a:moveTo>
                    <a:pt x="62" y="116"/>
                  </a:moveTo>
                  <a:lnTo>
                    <a:pt x="7" y="150"/>
                  </a:lnTo>
                  <a:lnTo>
                    <a:pt x="7" y="41"/>
                  </a:lnTo>
                  <a:lnTo>
                    <a:pt x="62" y="12"/>
                  </a:lnTo>
                  <a:lnTo>
                    <a:pt x="62" y="116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8" name="Freeform 361"/>
            <p:cNvSpPr>
              <a:spLocks noEditPoints="1"/>
            </p:cNvSpPr>
            <p:nvPr/>
          </p:nvSpPr>
          <p:spPr bwMode="gray">
            <a:xfrm>
              <a:off x="9871075" y="4306888"/>
              <a:ext cx="293688" cy="236538"/>
            </a:xfrm>
            <a:custGeom>
              <a:avLst/>
              <a:gdLst>
                <a:gd name="T0" fmla="*/ 185 w 185"/>
                <a:gd name="T1" fmla="*/ 42 h 149"/>
                <a:gd name="T2" fmla="*/ 96 w 185"/>
                <a:gd name="T3" fmla="*/ 0 h 149"/>
                <a:gd name="T4" fmla="*/ 0 w 185"/>
                <a:gd name="T5" fmla="*/ 44 h 149"/>
                <a:gd name="T6" fmla="*/ 0 w 185"/>
                <a:gd name="T7" fmla="*/ 100 h 149"/>
                <a:gd name="T8" fmla="*/ 91 w 185"/>
                <a:gd name="T9" fmla="*/ 149 h 149"/>
                <a:gd name="T10" fmla="*/ 185 w 185"/>
                <a:gd name="T11" fmla="*/ 100 h 149"/>
                <a:gd name="T12" fmla="*/ 185 w 185"/>
                <a:gd name="T13" fmla="*/ 42 h 149"/>
                <a:gd name="T14" fmla="*/ 15 w 185"/>
                <a:gd name="T15" fmla="*/ 91 h 149"/>
                <a:gd name="T16" fmla="*/ 15 w 185"/>
                <a:gd name="T17" fmla="*/ 56 h 149"/>
                <a:gd name="T18" fmla="*/ 89 w 185"/>
                <a:gd name="T19" fmla="*/ 93 h 149"/>
                <a:gd name="T20" fmla="*/ 89 w 185"/>
                <a:gd name="T21" fmla="*/ 129 h 149"/>
                <a:gd name="T22" fmla="*/ 15 w 185"/>
                <a:gd name="T23" fmla="*/ 91 h 149"/>
                <a:gd name="T24" fmla="*/ 91 w 185"/>
                <a:gd name="T25" fmla="*/ 91 h 149"/>
                <a:gd name="T26" fmla="*/ 20 w 185"/>
                <a:gd name="T27" fmla="*/ 53 h 149"/>
                <a:gd name="T28" fmla="*/ 22 w 185"/>
                <a:gd name="T29" fmla="*/ 53 h 149"/>
                <a:gd name="T30" fmla="*/ 96 w 185"/>
                <a:gd name="T31" fmla="*/ 18 h 149"/>
                <a:gd name="T32" fmla="*/ 163 w 185"/>
                <a:gd name="T33" fmla="*/ 51 h 149"/>
                <a:gd name="T34" fmla="*/ 167 w 185"/>
                <a:gd name="T35" fmla="*/ 51 h 149"/>
                <a:gd name="T36" fmla="*/ 91 w 185"/>
                <a:gd name="T37" fmla="*/ 91 h 149"/>
                <a:gd name="T38" fmla="*/ 94 w 185"/>
                <a:gd name="T39" fmla="*/ 129 h 149"/>
                <a:gd name="T40" fmla="*/ 94 w 185"/>
                <a:gd name="T41" fmla="*/ 93 h 149"/>
                <a:gd name="T42" fmla="*/ 167 w 185"/>
                <a:gd name="T43" fmla="*/ 56 h 149"/>
                <a:gd name="T44" fmla="*/ 167 w 185"/>
                <a:gd name="T45" fmla="*/ 91 h 149"/>
                <a:gd name="T46" fmla="*/ 94 w 185"/>
                <a:gd name="T47" fmla="*/ 12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49">
                  <a:moveTo>
                    <a:pt x="185" y="42"/>
                  </a:moveTo>
                  <a:lnTo>
                    <a:pt x="96" y="0"/>
                  </a:lnTo>
                  <a:lnTo>
                    <a:pt x="0" y="44"/>
                  </a:lnTo>
                  <a:lnTo>
                    <a:pt x="0" y="100"/>
                  </a:lnTo>
                  <a:lnTo>
                    <a:pt x="91" y="149"/>
                  </a:lnTo>
                  <a:lnTo>
                    <a:pt x="185" y="100"/>
                  </a:lnTo>
                  <a:lnTo>
                    <a:pt x="185" y="42"/>
                  </a:lnTo>
                  <a:close/>
                  <a:moveTo>
                    <a:pt x="15" y="91"/>
                  </a:moveTo>
                  <a:lnTo>
                    <a:pt x="15" y="56"/>
                  </a:lnTo>
                  <a:lnTo>
                    <a:pt x="89" y="93"/>
                  </a:lnTo>
                  <a:lnTo>
                    <a:pt x="89" y="129"/>
                  </a:lnTo>
                  <a:lnTo>
                    <a:pt x="15" y="91"/>
                  </a:lnTo>
                  <a:close/>
                  <a:moveTo>
                    <a:pt x="91" y="91"/>
                  </a:moveTo>
                  <a:lnTo>
                    <a:pt x="20" y="53"/>
                  </a:lnTo>
                  <a:lnTo>
                    <a:pt x="22" y="53"/>
                  </a:lnTo>
                  <a:lnTo>
                    <a:pt x="96" y="18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91" y="91"/>
                  </a:lnTo>
                  <a:close/>
                  <a:moveTo>
                    <a:pt x="94" y="129"/>
                  </a:moveTo>
                  <a:lnTo>
                    <a:pt x="94" y="93"/>
                  </a:lnTo>
                  <a:lnTo>
                    <a:pt x="167" y="56"/>
                  </a:lnTo>
                  <a:lnTo>
                    <a:pt x="167" y="91"/>
                  </a:lnTo>
                  <a:lnTo>
                    <a:pt x="94" y="129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9" name="Freeform 362"/>
            <p:cNvSpPr>
              <a:spLocks noEditPoints="1"/>
            </p:cNvSpPr>
            <p:nvPr/>
          </p:nvSpPr>
          <p:spPr bwMode="gray">
            <a:xfrm>
              <a:off x="7716838" y="4175125"/>
              <a:ext cx="303213" cy="357188"/>
            </a:xfrm>
            <a:custGeom>
              <a:avLst/>
              <a:gdLst>
                <a:gd name="T0" fmla="*/ 191 w 191"/>
                <a:gd name="T1" fmla="*/ 101 h 225"/>
                <a:gd name="T2" fmla="*/ 4 w 191"/>
                <a:gd name="T3" fmla="*/ 3 h 225"/>
                <a:gd name="T4" fmla="*/ 0 w 191"/>
                <a:gd name="T5" fmla="*/ 0 h 225"/>
                <a:gd name="T6" fmla="*/ 0 w 191"/>
                <a:gd name="T7" fmla="*/ 121 h 225"/>
                <a:gd name="T8" fmla="*/ 191 w 191"/>
                <a:gd name="T9" fmla="*/ 225 h 225"/>
                <a:gd name="T10" fmla="*/ 191 w 191"/>
                <a:gd name="T11" fmla="*/ 101 h 225"/>
                <a:gd name="T12" fmla="*/ 64 w 191"/>
                <a:gd name="T13" fmla="*/ 43 h 225"/>
                <a:gd name="T14" fmla="*/ 122 w 191"/>
                <a:gd name="T15" fmla="*/ 72 h 225"/>
                <a:gd name="T16" fmla="*/ 122 w 191"/>
                <a:gd name="T17" fmla="*/ 179 h 225"/>
                <a:gd name="T18" fmla="*/ 64 w 191"/>
                <a:gd name="T19" fmla="*/ 147 h 225"/>
                <a:gd name="T20" fmla="*/ 64 w 191"/>
                <a:gd name="T21" fmla="*/ 43 h 225"/>
                <a:gd name="T22" fmla="*/ 6 w 191"/>
                <a:gd name="T23" fmla="*/ 11 h 225"/>
                <a:gd name="T24" fmla="*/ 58 w 191"/>
                <a:gd name="T25" fmla="*/ 38 h 225"/>
                <a:gd name="T26" fmla="*/ 58 w 191"/>
                <a:gd name="T27" fmla="*/ 145 h 225"/>
                <a:gd name="T28" fmla="*/ 6 w 191"/>
                <a:gd name="T29" fmla="*/ 116 h 225"/>
                <a:gd name="T30" fmla="*/ 6 w 191"/>
                <a:gd name="T31" fmla="*/ 11 h 225"/>
                <a:gd name="T32" fmla="*/ 182 w 191"/>
                <a:gd name="T33" fmla="*/ 212 h 225"/>
                <a:gd name="T34" fmla="*/ 129 w 191"/>
                <a:gd name="T35" fmla="*/ 183 h 225"/>
                <a:gd name="T36" fmla="*/ 129 w 191"/>
                <a:gd name="T37" fmla="*/ 76 h 225"/>
                <a:gd name="T38" fmla="*/ 182 w 191"/>
                <a:gd name="T39" fmla="*/ 105 h 225"/>
                <a:gd name="T40" fmla="*/ 182 w 191"/>
                <a:gd name="T41" fmla="*/ 21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1" h="225">
                  <a:moveTo>
                    <a:pt x="191" y="101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121"/>
                  </a:lnTo>
                  <a:lnTo>
                    <a:pt x="191" y="225"/>
                  </a:lnTo>
                  <a:lnTo>
                    <a:pt x="191" y="101"/>
                  </a:lnTo>
                  <a:close/>
                  <a:moveTo>
                    <a:pt x="64" y="43"/>
                  </a:moveTo>
                  <a:lnTo>
                    <a:pt x="122" y="72"/>
                  </a:lnTo>
                  <a:lnTo>
                    <a:pt x="122" y="179"/>
                  </a:lnTo>
                  <a:lnTo>
                    <a:pt x="64" y="147"/>
                  </a:lnTo>
                  <a:lnTo>
                    <a:pt x="64" y="43"/>
                  </a:lnTo>
                  <a:close/>
                  <a:moveTo>
                    <a:pt x="6" y="11"/>
                  </a:moveTo>
                  <a:lnTo>
                    <a:pt x="58" y="38"/>
                  </a:lnTo>
                  <a:lnTo>
                    <a:pt x="58" y="145"/>
                  </a:lnTo>
                  <a:lnTo>
                    <a:pt x="6" y="116"/>
                  </a:lnTo>
                  <a:lnTo>
                    <a:pt x="6" y="11"/>
                  </a:lnTo>
                  <a:close/>
                  <a:moveTo>
                    <a:pt x="182" y="212"/>
                  </a:moveTo>
                  <a:lnTo>
                    <a:pt x="129" y="183"/>
                  </a:lnTo>
                  <a:lnTo>
                    <a:pt x="129" y="76"/>
                  </a:lnTo>
                  <a:lnTo>
                    <a:pt x="182" y="105"/>
                  </a:lnTo>
                  <a:lnTo>
                    <a:pt x="182" y="212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0" name="Freeform 363"/>
            <p:cNvSpPr>
              <a:spLocks noEditPoints="1"/>
            </p:cNvSpPr>
            <p:nvPr/>
          </p:nvSpPr>
          <p:spPr bwMode="gray">
            <a:xfrm>
              <a:off x="7872413" y="3959225"/>
              <a:ext cx="288925" cy="241300"/>
            </a:xfrm>
            <a:custGeom>
              <a:avLst/>
              <a:gdLst>
                <a:gd name="T0" fmla="*/ 182 w 182"/>
                <a:gd name="T1" fmla="*/ 45 h 152"/>
                <a:gd name="T2" fmla="*/ 93 w 182"/>
                <a:gd name="T3" fmla="*/ 0 h 152"/>
                <a:gd name="T4" fmla="*/ 0 w 182"/>
                <a:gd name="T5" fmla="*/ 47 h 152"/>
                <a:gd name="T6" fmla="*/ 0 w 182"/>
                <a:gd name="T7" fmla="*/ 103 h 152"/>
                <a:gd name="T8" fmla="*/ 91 w 182"/>
                <a:gd name="T9" fmla="*/ 152 h 152"/>
                <a:gd name="T10" fmla="*/ 182 w 182"/>
                <a:gd name="T11" fmla="*/ 101 h 152"/>
                <a:gd name="T12" fmla="*/ 182 w 182"/>
                <a:gd name="T13" fmla="*/ 45 h 152"/>
                <a:gd name="T14" fmla="*/ 15 w 182"/>
                <a:gd name="T15" fmla="*/ 92 h 152"/>
                <a:gd name="T16" fmla="*/ 15 w 182"/>
                <a:gd name="T17" fmla="*/ 58 h 152"/>
                <a:gd name="T18" fmla="*/ 87 w 182"/>
                <a:gd name="T19" fmla="*/ 96 h 152"/>
                <a:gd name="T20" fmla="*/ 87 w 182"/>
                <a:gd name="T21" fmla="*/ 132 h 152"/>
                <a:gd name="T22" fmla="*/ 15 w 182"/>
                <a:gd name="T23" fmla="*/ 92 h 152"/>
                <a:gd name="T24" fmla="*/ 91 w 182"/>
                <a:gd name="T25" fmla="*/ 92 h 152"/>
                <a:gd name="T26" fmla="*/ 17 w 182"/>
                <a:gd name="T27" fmla="*/ 54 h 152"/>
                <a:gd name="T28" fmla="*/ 22 w 182"/>
                <a:gd name="T29" fmla="*/ 54 h 152"/>
                <a:gd name="T30" fmla="*/ 93 w 182"/>
                <a:gd name="T31" fmla="*/ 20 h 152"/>
                <a:gd name="T32" fmla="*/ 162 w 182"/>
                <a:gd name="T33" fmla="*/ 52 h 152"/>
                <a:gd name="T34" fmla="*/ 165 w 182"/>
                <a:gd name="T35" fmla="*/ 52 h 152"/>
                <a:gd name="T36" fmla="*/ 91 w 182"/>
                <a:gd name="T37" fmla="*/ 92 h 152"/>
                <a:gd name="T38" fmla="*/ 91 w 182"/>
                <a:gd name="T39" fmla="*/ 132 h 152"/>
                <a:gd name="T40" fmla="*/ 91 w 182"/>
                <a:gd name="T41" fmla="*/ 96 h 152"/>
                <a:gd name="T42" fmla="*/ 167 w 182"/>
                <a:gd name="T43" fmla="*/ 56 h 152"/>
                <a:gd name="T44" fmla="*/ 167 w 182"/>
                <a:gd name="T45" fmla="*/ 92 h 152"/>
                <a:gd name="T46" fmla="*/ 91 w 182"/>
                <a:gd name="T47" fmla="*/ 13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2" h="152">
                  <a:moveTo>
                    <a:pt x="182" y="45"/>
                  </a:moveTo>
                  <a:lnTo>
                    <a:pt x="93" y="0"/>
                  </a:lnTo>
                  <a:lnTo>
                    <a:pt x="0" y="47"/>
                  </a:lnTo>
                  <a:lnTo>
                    <a:pt x="0" y="103"/>
                  </a:lnTo>
                  <a:lnTo>
                    <a:pt x="91" y="152"/>
                  </a:lnTo>
                  <a:lnTo>
                    <a:pt x="182" y="101"/>
                  </a:lnTo>
                  <a:lnTo>
                    <a:pt x="182" y="45"/>
                  </a:lnTo>
                  <a:close/>
                  <a:moveTo>
                    <a:pt x="15" y="92"/>
                  </a:moveTo>
                  <a:lnTo>
                    <a:pt x="15" y="58"/>
                  </a:lnTo>
                  <a:lnTo>
                    <a:pt x="87" y="96"/>
                  </a:lnTo>
                  <a:lnTo>
                    <a:pt x="87" y="132"/>
                  </a:lnTo>
                  <a:lnTo>
                    <a:pt x="15" y="92"/>
                  </a:lnTo>
                  <a:close/>
                  <a:moveTo>
                    <a:pt x="91" y="92"/>
                  </a:moveTo>
                  <a:lnTo>
                    <a:pt x="17" y="54"/>
                  </a:lnTo>
                  <a:lnTo>
                    <a:pt x="22" y="54"/>
                  </a:lnTo>
                  <a:lnTo>
                    <a:pt x="93" y="20"/>
                  </a:lnTo>
                  <a:lnTo>
                    <a:pt x="162" y="52"/>
                  </a:lnTo>
                  <a:lnTo>
                    <a:pt x="165" y="52"/>
                  </a:lnTo>
                  <a:lnTo>
                    <a:pt x="91" y="92"/>
                  </a:lnTo>
                  <a:close/>
                  <a:moveTo>
                    <a:pt x="91" y="132"/>
                  </a:moveTo>
                  <a:lnTo>
                    <a:pt x="91" y="96"/>
                  </a:lnTo>
                  <a:lnTo>
                    <a:pt x="167" y="56"/>
                  </a:lnTo>
                  <a:lnTo>
                    <a:pt x="167" y="92"/>
                  </a:lnTo>
                  <a:lnTo>
                    <a:pt x="91" y="132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1" name="Freeform 364"/>
            <p:cNvSpPr>
              <a:spLocks noEditPoints="1"/>
            </p:cNvSpPr>
            <p:nvPr/>
          </p:nvSpPr>
          <p:spPr bwMode="gray">
            <a:xfrm>
              <a:off x="8385175" y="4514850"/>
              <a:ext cx="303213" cy="361950"/>
            </a:xfrm>
            <a:custGeom>
              <a:avLst/>
              <a:gdLst>
                <a:gd name="T0" fmla="*/ 191 w 191"/>
                <a:gd name="T1" fmla="*/ 101 h 228"/>
                <a:gd name="T2" fmla="*/ 7 w 191"/>
                <a:gd name="T3" fmla="*/ 3 h 228"/>
                <a:gd name="T4" fmla="*/ 0 w 191"/>
                <a:gd name="T5" fmla="*/ 0 h 228"/>
                <a:gd name="T6" fmla="*/ 0 w 191"/>
                <a:gd name="T7" fmla="*/ 123 h 228"/>
                <a:gd name="T8" fmla="*/ 191 w 191"/>
                <a:gd name="T9" fmla="*/ 228 h 228"/>
                <a:gd name="T10" fmla="*/ 191 w 191"/>
                <a:gd name="T11" fmla="*/ 101 h 228"/>
                <a:gd name="T12" fmla="*/ 9 w 191"/>
                <a:gd name="T13" fmla="*/ 14 h 228"/>
                <a:gd name="T14" fmla="*/ 58 w 191"/>
                <a:gd name="T15" fmla="*/ 40 h 228"/>
                <a:gd name="T16" fmla="*/ 58 w 191"/>
                <a:gd name="T17" fmla="*/ 145 h 228"/>
                <a:gd name="T18" fmla="*/ 9 w 191"/>
                <a:gd name="T19" fmla="*/ 118 h 228"/>
                <a:gd name="T20" fmla="*/ 9 w 191"/>
                <a:gd name="T21" fmla="*/ 14 h 228"/>
                <a:gd name="T22" fmla="*/ 67 w 191"/>
                <a:gd name="T23" fmla="*/ 43 h 228"/>
                <a:gd name="T24" fmla="*/ 122 w 191"/>
                <a:gd name="T25" fmla="*/ 74 h 228"/>
                <a:gd name="T26" fmla="*/ 122 w 191"/>
                <a:gd name="T27" fmla="*/ 181 h 228"/>
                <a:gd name="T28" fmla="*/ 67 w 191"/>
                <a:gd name="T29" fmla="*/ 150 h 228"/>
                <a:gd name="T30" fmla="*/ 67 w 191"/>
                <a:gd name="T31" fmla="*/ 43 h 228"/>
                <a:gd name="T32" fmla="*/ 131 w 191"/>
                <a:gd name="T33" fmla="*/ 185 h 228"/>
                <a:gd name="T34" fmla="*/ 131 w 191"/>
                <a:gd name="T35" fmla="*/ 76 h 228"/>
                <a:gd name="T36" fmla="*/ 185 w 191"/>
                <a:gd name="T37" fmla="*/ 105 h 228"/>
                <a:gd name="T38" fmla="*/ 185 w 191"/>
                <a:gd name="T39" fmla="*/ 214 h 228"/>
                <a:gd name="T40" fmla="*/ 131 w 191"/>
                <a:gd name="T41" fmla="*/ 185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1" h="228">
                  <a:moveTo>
                    <a:pt x="191" y="101"/>
                  </a:moveTo>
                  <a:lnTo>
                    <a:pt x="7" y="3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191" y="228"/>
                  </a:lnTo>
                  <a:lnTo>
                    <a:pt x="191" y="101"/>
                  </a:lnTo>
                  <a:close/>
                  <a:moveTo>
                    <a:pt x="9" y="14"/>
                  </a:moveTo>
                  <a:lnTo>
                    <a:pt x="58" y="40"/>
                  </a:lnTo>
                  <a:lnTo>
                    <a:pt x="58" y="145"/>
                  </a:lnTo>
                  <a:lnTo>
                    <a:pt x="9" y="118"/>
                  </a:lnTo>
                  <a:lnTo>
                    <a:pt x="9" y="14"/>
                  </a:lnTo>
                  <a:close/>
                  <a:moveTo>
                    <a:pt x="67" y="43"/>
                  </a:moveTo>
                  <a:lnTo>
                    <a:pt x="122" y="74"/>
                  </a:lnTo>
                  <a:lnTo>
                    <a:pt x="122" y="181"/>
                  </a:lnTo>
                  <a:lnTo>
                    <a:pt x="67" y="150"/>
                  </a:lnTo>
                  <a:lnTo>
                    <a:pt x="67" y="43"/>
                  </a:lnTo>
                  <a:close/>
                  <a:moveTo>
                    <a:pt x="131" y="185"/>
                  </a:moveTo>
                  <a:lnTo>
                    <a:pt x="131" y="76"/>
                  </a:lnTo>
                  <a:lnTo>
                    <a:pt x="185" y="105"/>
                  </a:lnTo>
                  <a:lnTo>
                    <a:pt x="185" y="214"/>
                  </a:lnTo>
                  <a:lnTo>
                    <a:pt x="131" y="185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2" name="Freeform 365"/>
            <p:cNvSpPr>
              <a:spLocks noEditPoints="1"/>
            </p:cNvSpPr>
            <p:nvPr/>
          </p:nvSpPr>
          <p:spPr bwMode="gray">
            <a:xfrm>
              <a:off x="8540750" y="4303713"/>
              <a:ext cx="293688" cy="236538"/>
            </a:xfrm>
            <a:custGeom>
              <a:avLst/>
              <a:gdLst>
                <a:gd name="T0" fmla="*/ 185 w 185"/>
                <a:gd name="T1" fmla="*/ 42 h 149"/>
                <a:gd name="T2" fmla="*/ 96 w 185"/>
                <a:gd name="T3" fmla="*/ 0 h 149"/>
                <a:gd name="T4" fmla="*/ 0 w 185"/>
                <a:gd name="T5" fmla="*/ 44 h 149"/>
                <a:gd name="T6" fmla="*/ 0 w 185"/>
                <a:gd name="T7" fmla="*/ 100 h 149"/>
                <a:gd name="T8" fmla="*/ 91 w 185"/>
                <a:gd name="T9" fmla="*/ 149 h 149"/>
                <a:gd name="T10" fmla="*/ 185 w 185"/>
                <a:gd name="T11" fmla="*/ 100 h 149"/>
                <a:gd name="T12" fmla="*/ 185 w 185"/>
                <a:gd name="T13" fmla="*/ 42 h 149"/>
                <a:gd name="T14" fmla="*/ 18 w 185"/>
                <a:gd name="T15" fmla="*/ 91 h 149"/>
                <a:gd name="T16" fmla="*/ 18 w 185"/>
                <a:gd name="T17" fmla="*/ 55 h 149"/>
                <a:gd name="T18" fmla="*/ 89 w 185"/>
                <a:gd name="T19" fmla="*/ 93 h 149"/>
                <a:gd name="T20" fmla="*/ 89 w 185"/>
                <a:gd name="T21" fmla="*/ 129 h 149"/>
                <a:gd name="T22" fmla="*/ 18 w 185"/>
                <a:gd name="T23" fmla="*/ 91 h 149"/>
                <a:gd name="T24" fmla="*/ 163 w 185"/>
                <a:gd name="T25" fmla="*/ 51 h 149"/>
                <a:gd name="T26" fmla="*/ 167 w 185"/>
                <a:gd name="T27" fmla="*/ 51 h 149"/>
                <a:gd name="T28" fmla="*/ 91 w 185"/>
                <a:gd name="T29" fmla="*/ 91 h 149"/>
                <a:gd name="T30" fmla="*/ 20 w 185"/>
                <a:gd name="T31" fmla="*/ 53 h 149"/>
                <a:gd name="T32" fmla="*/ 22 w 185"/>
                <a:gd name="T33" fmla="*/ 53 h 149"/>
                <a:gd name="T34" fmla="*/ 96 w 185"/>
                <a:gd name="T35" fmla="*/ 17 h 149"/>
                <a:gd name="T36" fmla="*/ 163 w 185"/>
                <a:gd name="T37" fmla="*/ 51 h 149"/>
                <a:gd name="T38" fmla="*/ 93 w 185"/>
                <a:gd name="T39" fmla="*/ 95 h 149"/>
                <a:gd name="T40" fmla="*/ 167 w 185"/>
                <a:gd name="T41" fmla="*/ 55 h 149"/>
                <a:gd name="T42" fmla="*/ 167 w 185"/>
                <a:gd name="T43" fmla="*/ 91 h 149"/>
                <a:gd name="T44" fmla="*/ 93 w 185"/>
                <a:gd name="T45" fmla="*/ 129 h 149"/>
                <a:gd name="T46" fmla="*/ 93 w 185"/>
                <a:gd name="T47" fmla="*/ 9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49">
                  <a:moveTo>
                    <a:pt x="185" y="42"/>
                  </a:moveTo>
                  <a:lnTo>
                    <a:pt x="96" y="0"/>
                  </a:lnTo>
                  <a:lnTo>
                    <a:pt x="0" y="44"/>
                  </a:lnTo>
                  <a:lnTo>
                    <a:pt x="0" y="100"/>
                  </a:lnTo>
                  <a:lnTo>
                    <a:pt x="91" y="149"/>
                  </a:lnTo>
                  <a:lnTo>
                    <a:pt x="185" y="100"/>
                  </a:lnTo>
                  <a:lnTo>
                    <a:pt x="185" y="42"/>
                  </a:lnTo>
                  <a:close/>
                  <a:moveTo>
                    <a:pt x="18" y="91"/>
                  </a:moveTo>
                  <a:lnTo>
                    <a:pt x="18" y="55"/>
                  </a:lnTo>
                  <a:lnTo>
                    <a:pt x="89" y="93"/>
                  </a:lnTo>
                  <a:lnTo>
                    <a:pt x="89" y="129"/>
                  </a:lnTo>
                  <a:lnTo>
                    <a:pt x="18" y="91"/>
                  </a:lnTo>
                  <a:close/>
                  <a:moveTo>
                    <a:pt x="163" y="51"/>
                  </a:moveTo>
                  <a:lnTo>
                    <a:pt x="167" y="51"/>
                  </a:lnTo>
                  <a:lnTo>
                    <a:pt x="91" y="91"/>
                  </a:lnTo>
                  <a:lnTo>
                    <a:pt x="20" y="53"/>
                  </a:lnTo>
                  <a:lnTo>
                    <a:pt x="22" y="53"/>
                  </a:lnTo>
                  <a:lnTo>
                    <a:pt x="96" y="17"/>
                  </a:lnTo>
                  <a:lnTo>
                    <a:pt x="163" y="51"/>
                  </a:lnTo>
                  <a:close/>
                  <a:moveTo>
                    <a:pt x="93" y="95"/>
                  </a:moveTo>
                  <a:lnTo>
                    <a:pt x="167" y="55"/>
                  </a:lnTo>
                  <a:lnTo>
                    <a:pt x="167" y="91"/>
                  </a:lnTo>
                  <a:lnTo>
                    <a:pt x="93" y="129"/>
                  </a:lnTo>
                  <a:lnTo>
                    <a:pt x="93" y="95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3" name="Freeform 366"/>
            <p:cNvSpPr>
              <a:spLocks noEditPoints="1"/>
            </p:cNvSpPr>
            <p:nvPr/>
          </p:nvSpPr>
          <p:spPr bwMode="gray">
            <a:xfrm>
              <a:off x="9064625" y="4868863"/>
              <a:ext cx="307975" cy="357188"/>
            </a:xfrm>
            <a:custGeom>
              <a:avLst/>
              <a:gdLst>
                <a:gd name="T0" fmla="*/ 194 w 194"/>
                <a:gd name="T1" fmla="*/ 101 h 225"/>
                <a:gd name="T2" fmla="*/ 6 w 194"/>
                <a:gd name="T3" fmla="*/ 2 h 225"/>
                <a:gd name="T4" fmla="*/ 0 w 194"/>
                <a:gd name="T5" fmla="*/ 0 h 225"/>
                <a:gd name="T6" fmla="*/ 0 w 194"/>
                <a:gd name="T7" fmla="*/ 121 h 225"/>
                <a:gd name="T8" fmla="*/ 194 w 194"/>
                <a:gd name="T9" fmla="*/ 225 h 225"/>
                <a:gd name="T10" fmla="*/ 194 w 194"/>
                <a:gd name="T11" fmla="*/ 101 h 225"/>
                <a:gd name="T12" fmla="*/ 9 w 194"/>
                <a:gd name="T13" fmla="*/ 11 h 225"/>
                <a:gd name="T14" fmla="*/ 58 w 194"/>
                <a:gd name="T15" fmla="*/ 38 h 225"/>
                <a:gd name="T16" fmla="*/ 58 w 194"/>
                <a:gd name="T17" fmla="*/ 145 h 225"/>
                <a:gd name="T18" fmla="*/ 9 w 194"/>
                <a:gd name="T19" fmla="*/ 116 h 225"/>
                <a:gd name="T20" fmla="*/ 9 w 194"/>
                <a:gd name="T21" fmla="*/ 11 h 225"/>
                <a:gd name="T22" fmla="*/ 67 w 194"/>
                <a:gd name="T23" fmla="*/ 43 h 225"/>
                <a:gd name="T24" fmla="*/ 122 w 194"/>
                <a:gd name="T25" fmla="*/ 72 h 225"/>
                <a:gd name="T26" fmla="*/ 122 w 194"/>
                <a:gd name="T27" fmla="*/ 179 h 225"/>
                <a:gd name="T28" fmla="*/ 67 w 194"/>
                <a:gd name="T29" fmla="*/ 147 h 225"/>
                <a:gd name="T30" fmla="*/ 67 w 194"/>
                <a:gd name="T31" fmla="*/ 43 h 225"/>
                <a:gd name="T32" fmla="*/ 131 w 194"/>
                <a:gd name="T33" fmla="*/ 183 h 225"/>
                <a:gd name="T34" fmla="*/ 131 w 194"/>
                <a:gd name="T35" fmla="*/ 76 h 225"/>
                <a:gd name="T36" fmla="*/ 185 w 194"/>
                <a:gd name="T37" fmla="*/ 105 h 225"/>
                <a:gd name="T38" fmla="*/ 185 w 194"/>
                <a:gd name="T39" fmla="*/ 212 h 225"/>
                <a:gd name="T40" fmla="*/ 131 w 194"/>
                <a:gd name="T41" fmla="*/ 18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4" h="225">
                  <a:moveTo>
                    <a:pt x="194" y="101"/>
                  </a:moveTo>
                  <a:lnTo>
                    <a:pt x="6" y="2"/>
                  </a:lnTo>
                  <a:lnTo>
                    <a:pt x="0" y="0"/>
                  </a:lnTo>
                  <a:lnTo>
                    <a:pt x="0" y="121"/>
                  </a:lnTo>
                  <a:lnTo>
                    <a:pt x="194" y="225"/>
                  </a:lnTo>
                  <a:lnTo>
                    <a:pt x="194" y="101"/>
                  </a:lnTo>
                  <a:close/>
                  <a:moveTo>
                    <a:pt x="9" y="11"/>
                  </a:moveTo>
                  <a:lnTo>
                    <a:pt x="58" y="38"/>
                  </a:lnTo>
                  <a:lnTo>
                    <a:pt x="58" y="145"/>
                  </a:lnTo>
                  <a:lnTo>
                    <a:pt x="9" y="116"/>
                  </a:lnTo>
                  <a:lnTo>
                    <a:pt x="9" y="11"/>
                  </a:lnTo>
                  <a:close/>
                  <a:moveTo>
                    <a:pt x="67" y="43"/>
                  </a:moveTo>
                  <a:lnTo>
                    <a:pt x="122" y="72"/>
                  </a:lnTo>
                  <a:lnTo>
                    <a:pt x="122" y="179"/>
                  </a:lnTo>
                  <a:lnTo>
                    <a:pt x="67" y="147"/>
                  </a:lnTo>
                  <a:lnTo>
                    <a:pt x="67" y="43"/>
                  </a:lnTo>
                  <a:close/>
                  <a:moveTo>
                    <a:pt x="131" y="183"/>
                  </a:moveTo>
                  <a:lnTo>
                    <a:pt x="131" y="76"/>
                  </a:lnTo>
                  <a:lnTo>
                    <a:pt x="185" y="105"/>
                  </a:lnTo>
                  <a:lnTo>
                    <a:pt x="185" y="212"/>
                  </a:lnTo>
                  <a:lnTo>
                    <a:pt x="131" y="183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4" name="Freeform 367"/>
            <p:cNvSpPr>
              <a:spLocks noEditPoints="1"/>
            </p:cNvSpPr>
            <p:nvPr/>
          </p:nvSpPr>
          <p:spPr bwMode="gray">
            <a:xfrm>
              <a:off x="9545638" y="4997450"/>
              <a:ext cx="112713" cy="257175"/>
            </a:xfrm>
            <a:custGeom>
              <a:avLst/>
              <a:gdLst>
                <a:gd name="T0" fmla="*/ 71 w 71"/>
                <a:gd name="T1" fmla="*/ 122 h 162"/>
                <a:gd name="T2" fmla="*/ 71 w 71"/>
                <a:gd name="T3" fmla="*/ 0 h 162"/>
                <a:gd name="T4" fmla="*/ 0 w 71"/>
                <a:gd name="T5" fmla="*/ 35 h 162"/>
                <a:gd name="T6" fmla="*/ 0 w 71"/>
                <a:gd name="T7" fmla="*/ 162 h 162"/>
                <a:gd name="T8" fmla="*/ 71 w 71"/>
                <a:gd name="T9" fmla="*/ 122 h 162"/>
                <a:gd name="T10" fmla="*/ 7 w 71"/>
                <a:gd name="T11" fmla="*/ 149 h 162"/>
                <a:gd name="T12" fmla="*/ 7 w 71"/>
                <a:gd name="T13" fmla="*/ 40 h 162"/>
                <a:gd name="T14" fmla="*/ 62 w 71"/>
                <a:gd name="T15" fmla="*/ 11 h 162"/>
                <a:gd name="T16" fmla="*/ 62 w 71"/>
                <a:gd name="T17" fmla="*/ 118 h 162"/>
                <a:gd name="T18" fmla="*/ 7 w 71"/>
                <a:gd name="T19" fmla="*/ 149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162">
                  <a:moveTo>
                    <a:pt x="71" y="122"/>
                  </a:moveTo>
                  <a:lnTo>
                    <a:pt x="71" y="0"/>
                  </a:lnTo>
                  <a:lnTo>
                    <a:pt x="0" y="35"/>
                  </a:lnTo>
                  <a:lnTo>
                    <a:pt x="0" y="162"/>
                  </a:lnTo>
                  <a:lnTo>
                    <a:pt x="71" y="122"/>
                  </a:lnTo>
                  <a:close/>
                  <a:moveTo>
                    <a:pt x="7" y="149"/>
                  </a:moveTo>
                  <a:lnTo>
                    <a:pt x="7" y="40"/>
                  </a:lnTo>
                  <a:lnTo>
                    <a:pt x="62" y="11"/>
                  </a:lnTo>
                  <a:lnTo>
                    <a:pt x="62" y="118"/>
                  </a:lnTo>
                  <a:lnTo>
                    <a:pt x="7" y="149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5" name="Freeform 368"/>
            <p:cNvSpPr>
              <a:spLocks noEditPoints="1"/>
            </p:cNvSpPr>
            <p:nvPr/>
          </p:nvSpPr>
          <p:spPr bwMode="gray">
            <a:xfrm>
              <a:off x="9545638" y="5265738"/>
              <a:ext cx="112713" cy="258763"/>
            </a:xfrm>
            <a:custGeom>
              <a:avLst/>
              <a:gdLst>
                <a:gd name="T0" fmla="*/ 0 w 71"/>
                <a:gd name="T1" fmla="*/ 163 h 163"/>
                <a:gd name="T2" fmla="*/ 71 w 71"/>
                <a:gd name="T3" fmla="*/ 123 h 163"/>
                <a:gd name="T4" fmla="*/ 71 w 71"/>
                <a:gd name="T5" fmla="*/ 0 h 163"/>
                <a:gd name="T6" fmla="*/ 0 w 71"/>
                <a:gd name="T7" fmla="*/ 36 h 163"/>
                <a:gd name="T8" fmla="*/ 0 w 71"/>
                <a:gd name="T9" fmla="*/ 163 h 163"/>
                <a:gd name="T10" fmla="*/ 7 w 71"/>
                <a:gd name="T11" fmla="*/ 40 h 163"/>
                <a:gd name="T12" fmla="*/ 62 w 71"/>
                <a:gd name="T13" fmla="*/ 13 h 163"/>
                <a:gd name="T14" fmla="*/ 62 w 71"/>
                <a:gd name="T15" fmla="*/ 118 h 163"/>
                <a:gd name="T16" fmla="*/ 7 w 71"/>
                <a:gd name="T17" fmla="*/ 149 h 163"/>
                <a:gd name="T18" fmla="*/ 7 w 71"/>
                <a:gd name="T19" fmla="*/ 4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163">
                  <a:moveTo>
                    <a:pt x="0" y="163"/>
                  </a:moveTo>
                  <a:lnTo>
                    <a:pt x="71" y="123"/>
                  </a:lnTo>
                  <a:lnTo>
                    <a:pt x="71" y="0"/>
                  </a:lnTo>
                  <a:lnTo>
                    <a:pt x="0" y="36"/>
                  </a:lnTo>
                  <a:lnTo>
                    <a:pt x="0" y="163"/>
                  </a:lnTo>
                  <a:close/>
                  <a:moveTo>
                    <a:pt x="7" y="40"/>
                  </a:moveTo>
                  <a:lnTo>
                    <a:pt x="62" y="13"/>
                  </a:lnTo>
                  <a:lnTo>
                    <a:pt x="62" y="118"/>
                  </a:lnTo>
                  <a:lnTo>
                    <a:pt x="7" y="149"/>
                  </a:lnTo>
                  <a:lnTo>
                    <a:pt x="7" y="40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6" name="Freeform 369"/>
            <p:cNvSpPr>
              <a:spLocks noEditPoints="1"/>
            </p:cNvSpPr>
            <p:nvPr/>
          </p:nvSpPr>
          <p:spPr bwMode="gray">
            <a:xfrm>
              <a:off x="9220200" y="4652963"/>
              <a:ext cx="293688" cy="241300"/>
            </a:xfrm>
            <a:custGeom>
              <a:avLst/>
              <a:gdLst>
                <a:gd name="T0" fmla="*/ 185 w 185"/>
                <a:gd name="T1" fmla="*/ 45 h 152"/>
                <a:gd name="T2" fmla="*/ 96 w 185"/>
                <a:gd name="T3" fmla="*/ 0 h 152"/>
                <a:gd name="T4" fmla="*/ 0 w 185"/>
                <a:gd name="T5" fmla="*/ 47 h 152"/>
                <a:gd name="T6" fmla="*/ 0 w 185"/>
                <a:gd name="T7" fmla="*/ 103 h 152"/>
                <a:gd name="T8" fmla="*/ 91 w 185"/>
                <a:gd name="T9" fmla="*/ 152 h 152"/>
                <a:gd name="T10" fmla="*/ 185 w 185"/>
                <a:gd name="T11" fmla="*/ 101 h 152"/>
                <a:gd name="T12" fmla="*/ 185 w 185"/>
                <a:gd name="T13" fmla="*/ 45 h 152"/>
                <a:gd name="T14" fmla="*/ 18 w 185"/>
                <a:gd name="T15" fmla="*/ 92 h 152"/>
                <a:gd name="T16" fmla="*/ 18 w 185"/>
                <a:gd name="T17" fmla="*/ 58 h 152"/>
                <a:gd name="T18" fmla="*/ 89 w 185"/>
                <a:gd name="T19" fmla="*/ 96 h 152"/>
                <a:gd name="T20" fmla="*/ 89 w 185"/>
                <a:gd name="T21" fmla="*/ 132 h 152"/>
                <a:gd name="T22" fmla="*/ 18 w 185"/>
                <a:gd name="T23" fmla="*/ 92 h 152"/>
                <a:gd name="T24" fmla="*/ 163 w 185"/>
                <a:gd name="T25" fmla="*/ 52 h 152"/>
                <a:gd name="T26" fmla="*/ 167 w 185"/>
                <a:gd name="T27" fmla="*/ 52 h 152"/>
                <a:gd name="T28" fmla="*/ 91 w 185"/>
                <a:gd name="T29" fmla="*/ 92 h 152"/>
                <a:gd name="T30" fmla="*/ 20 w 185"/>
                <a:gd name="T31" fmla="*/ 54 h 152"/>
                <a:gd name="T32" fmla="*/ 22 w 185"/>
                <a:gd name="T33" fmla="*/ 54 h 152"/>
                <a:gd name="T34" fmla="*/ 96 w 185"/>
                <a:gd name="T35" fmla="*/ 20 h 152"/>
                <a:gd name="T36" fmla="*/ 163 w 185"/>
                <a:gd name="T37" fmla="*/ 52 h 152"/>
                <a:gd name="T38" fmla="*/ 93 w 185"/>
                <a:gd name="T39" fmla="*/ 96 h 152"/>
                <a:gd name="T40" fmla="*/ 169 w 185"/>
                <a:gd name="T41" fmla="*/ 56 h 152"/>
                <a:gd name="T42" fmla="*/ 169 w 185"/>
                <a:gd name="T43" fmla="*/ 92 h 152"/>
                <a:gd name="T44" fmla="*/ 93 w 185"/>
                <a:gd name="T45" fmla="*/ 132 h 152"/>
                <a:gd name="T46" fmla="*/ 93 w 185"/>
                <a:gd name="T47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52">
                  <a:moveTo>
                    <a:pt x="185" y="45"/>
                  </a:moveTo>
                  <a:lnTo>
                    <a:pt x="96" y="0"/>
                  </a:lnTo>
                  <a:lnTo>
                    <a:pt x="0" y="47"/>
                  </a:lnTo>
                  <a:lnTo>
                    <a:pt x="0" y="103"/>
                  </a:lnTo>
                  <a:lnTo>
                    <a:pt x="91" y="152"/>
                  </a:lnTo>
                  <a:lnTo>
                    <a:pt x="185" y="101"/>
                  </a:lnTo>
                  <a:lnTo>
                    <a:pt x="185" y="45"/>
                  </a:lnTo>
                  <a:close/>
                  <a:moveTo>
                    <a:pt x="18" y="92"/>
                  </a:moveTo>
                  <a:lnTo>
                    <a:pt x="18" y="58"/>
                  </a:lnTo>
                  <a:lnTo>
                    <a:pt x="89" y="96"/>
                  </a:lnTo>
                  <a:lnTo>
                    <a:pt x="89" y="132"/>
                  </a:lnTo>
                  <a:lnTo>
                    <a:pt x="18" y="92"/>
                  </a:lnTo>
                  <a:close/>
                  <a:moveTo>
                    <a:pt x="163" y="52"/>
                  </a:moveTo>
                  <a:lnTo>
                    <a:pt x="167" y="52"/>
                  </a:lnTo>
                  <a:lnTo>
                    <a:pt x="91" y="92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96" y="20"/>
                  </a:lnTo>
                  <a:lnTo>
                    <a:pt x="163" y="52"/>
                  </a:lnTo>
                  <a:close/>
                  <a:moveTo>
                    <a:pt x="93" y="96"/>
                  </a:moveTo>
                  <a:lnTo>
                    <a:pt x="169" y="56"/>
                  </a:lnTo>
                  <a:lnTo>
                    <a:pt x="169" y="92"/>
                  </a:lnTo>
                  <a:lnTo>
                    <a:pt x="93" y="132"/>
                  </a:lnTo>
                  <a:lnTo>
                    <a:pt x="93" y="96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7" name="Freeform 370"/>
            <p:cNvSpPr>
              <a:spLocks noEditPoints="1"/>
            </p:cNvSpPr>
            <p:nvPr/>
          </p:nvSpPr>
          <p:spPr bwMode="gray">
            <a:xfrm>
              <a:off x="7078663" y="4525963"/>
              <a:ext cx="304800" cy="360363"/>
            </a:xfrm>
            <a:custGeom>
              <a:avLst/>
              <a:gdLst>
                <a:gd name="T0" fmla="*/ 192 w 192"/>
                <a:gd name="T1" fmla="*/ 100 h 227"/>
                <a:gd name="T2" fmla="*/ 5 w 192"/>
                <a:gd name="T3" fmla="*/ 2 h 227"/>
                <a:gd name="T4" fmla="*/ 0 w 192"/>
                <a:gd name="T5" fmla="*/ 0 h 227"/>
                <a:gd name="T6" fmla="*/ 0 w 192"/>
                <a:gd name="T7" fmla="*/ 123 h 227"/>
                <a:gd name="T8" fmla="*/ 192 w 192"/>
                <a:gd name="T9" fmla="*/ 227 h 227"/>
                <a:gd name="T10" fmla="*/ 192 w 192"/>
                <a:gd name="T11" fmla="*/ 100 h 227"/>
                <a:gd name="T12" fmla="*/ 65 w 192"/>
                <a:gd name="T13" fmla="*/ 42 h 227"/>
                <a:gd name="T14" fmla="*/ 123 w 192"/>
                <a:gd name="T15" fmla="*/ 74 h 227"/>
                <a:gd name="T16" fmla="*/ 123 w 192"/>
                <a:gd name="T17" fmla="*/ 181 h 227"/>
                <a:gd name="T18" fmla="*/ 65 w 192"/>
                <a:gd name="T19" fmla="*/ 149 h 227"/>
                <a:gd name="T20" fmla="*/ 65 w 192"/>
                <a:gd name="T21" fmla="*/ 42 h 227"/>
                <a:gd name="T22" fmla="*/ 7 w 192"/>
                <a:gd name="T23" fmla="*/ 13 h 227"/>
                <a:gd name="T24" fmla="*/ 58 w 192"/>
                <a:gd name="T25" fmla="*/ 40 h 227"/>
                <a:gd name="T26" fmla="*/ 58 w 192"/>
                <a:gd name="T27" fmla="*/ 145 h 227"/>
                <a:gd name="T28" fmla="*/ 7 w 192"/>
                <a:gd name="T29" fmla="*/ 118 h 227"/>
                <a:gd name="T30" fmla="*/ 7 w 192"/>
                <a:gd name="T31" fmla="*/ 13 h 227"/>
                <a:gd name="T32" fmla="*/ 183 w 192"/>
                <a:gd name="T33" fmla="*/ 214 h 227"/>
                <a:gd name="T34" fmla="*/ 130 w 192"/>
                <a:gd name="T35" fmla="*/ 185 h 227"/>
                <a:gd name="T36" fmla="*/ 130 w 192"/>
                <a:gd name="T37" fmla="*/ 76 h 227"/>
                <a:gd name="T38" fmla="*/ 183 w 192"/>
                <a:gd name="T39" fmla="*/ 105 h 227"/>
                <a:gd name="T40" fmla="*/ 183 w 192"/>
                <a:gd name="T41" fmla="*/ 21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27">
                  <a:moveTo>
                    <a:pt x="192" y="100"/>
                  </a:moveTo>
                  <a:lnTo>
                    <a:pt x="5" y="2"/>
                  </a:lnTo>
                  <a:lnTo>
                    <a:pt x="0" y="0"/>
                  </a:lnTo>
                  <a:lnTo>
                    <a:pt x="0" y="123"/>
                  </a:lnTo>
                  <a:lnTo>
                    <a:pt x="192" y="227"/>
                  </a:lnTo>
                  <a:lnTo>
                    <a:pt x="192" y="100"/>
                  </a:lnTo>
                  <a:close/>
                  <a:moveTo>
                    <a:pt x="65" y="42"/>
                  </a:moveTo>
                  <a:lnTo>
                    <a:pt x="123" y="74"/>
                  </a:lnTo>
                  <a:lnTo>
                    <a:pt x="123" y="181"/>
                  </a:lnTo>
                  <a:lnTo>
                    <a:pt x="65" y="149"/>
                  </a:lnTo>
                  <a:lnTo>
                    <a:pt x="65" y="42"/>
                  </a:lnTo>
                  <a:close/>
                  <a:moveTo>
                    <a:pt x="7" y="13"/>
                  </a:moveTo>
                  <a:lnTo>
                    <a:pt x="58" y="40"/>
                  </a:lnTo>
                  <a:lnTo>
                    <a:pt x="58" y="145"/>
                  </a:lnTo>
                  <a:lnTo>
                    <a:pt x="7" y="118"/>
                  </a:lnTo>
                  <a:lnTo>
                    <a:pt x="7" y="13"/>
                  </a:lnTo>
                  <a:close/>
                  <a:moveTo>
                    <a:pt x="183" y="214"/>
                  </a:moveTo>
                  <a:lnTo>
                    <a:pt x="130" y="185"/>
                  </a:lnTo>
                  <a:lnTo>
                    <a:pt x="130" y="76"/>
                  </a:lnTo>
                  <a:lnTo>
                    <a:pt x="183" y="105"/>
                  </a:lnTo>
                  <a:lnTo>
                    <a:pt x="183" y="214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8" name="Freeform 371"/>
            <p:cNvSpPr>
              <a:spLocks noEditPoints="1"/>
            </p:cNvSpPr>
            <p:nvPr/>
          </p:nvSpPr>
          <p:spPr bwMode="gray">
            <a:xfrm>
              <a:off x="7078663" y="4799013"/>
              <a:ext cx="304800" cy="357188"/>
            </a:xfrm>
            <a:custGeom>
              <a:avLst/>
              <a:gdLst>
                <a:gd name="T0" fmla="*/ 192 w 192"/>
                <a:gd name="T1" fmla="*/ 98 h 225"/>
                <a:gd name="T2" fmla="*/ 5 w 192"/>
                <a:gd name="T3" fmla="*/ 2 h 225"/>
                <a:gd name="T4" fmla="*/ 0 w 192"/>
                <a:gd name="T5" fmla="*/ 0 h 225"/>
                <a:gd name="T6" fmla="*/ 0 w 192"/>
                <a:gd name="T7" fmla="*/ 120 h 225"/>
                <a:gd name="T8" fmla="*/ 192 w 192"/>
                <a:gd name="T9" fmla="*/ 225 h 225"/>
                <a:gd name="T10" fmla="*/ 192 w 192"/>
                <a:gd name="T11" fmla="*/ 98 h 225"/>
                <a:gd name="T12" fmla="*/ 65 w 192"/>
                <a:gd name="T13" fmla="*/ 42 h 225"/>
                <a:gd name="T14" fmla="*/ 123 w 192"/>
                <a:gd name="T15" fmla="*/ 71 h 225"/>
                <a:gd name="T16" fmla="*/ 123 w 192"/>
                <a:gd name="T17" fmla="*/ 178 h 225"/>
                <a:gd name="T18" fmla="*/ 65 w 192"/>
                <a:gd name="T19" fmla="*/ 147 h 225"/>
                <a:gd name="T20" fmla="*/ 65 w 192"/>
                <a:gd name="T21" fmla="*/ 42 h 225"/>
                <a:gd name="T22" fmla="*/ 7 w 192"/>
                <a:gd name="T23" fmla="*/ 11 h 225"/>
                <a:gd name="T24" fmla="*/ 58 w 192"/>
                <a:gd name="T25" fmla="*/ 38 h 225"/>
                <a:gd name="T26" fmla="*/ 58 w 192"/>
                <a:gd name="T27" fmla="*/ 142 h 225"/>
                <a:gd name="T28" fmla="*/ 7 w 192"/>
                <a:gd name="T29" fmla="*/ 116 h 225"/>
                <a:gd name="T30" fmla="*/ 7 w 192"/>
                <a:gd name="T31" fmla="*/ 11 h 225"/>
                <a:gd name="T32" fmla="*/ 183 w 192"/>
                <a:gd name="T33" fmla="*/ 211 h 225"/>
                <a:gd name="T34" fmla="*/ 130 w 192"/>
                <a:gd name="T35" fmla="*/ 182 h 225"/>
                <a:gd name="T36" fmla="*/ 130 w 192"/>
                <a:gd name="T37" fmla="*/ 75 h 225"/>
                <a:gd name="T38" fmla="*/ 183 w 192"/>
                <a:gd name="T39" fmla="*/ 104 h 225"/>
                <a:gd name="T40" fmla="*/ 183 w 192"/>
                <a:gd name="T41" fmla="*/ 21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225">
                  <a:moveTo>
                    <a:pt x="192" y="98"/>
                  </a:moveTo>
                  <a:lnTo>
                    <a:pt x="5" y="2"/>
                  </a:lnTo>
                  <a:lnTo>
                    <a:pt x="0" y="0"/>
                  </a:lnTo>
                  <a:lnTo>
                    <a:pt x="0" y="120"/>
                  </a:lnTo>
                  <a:lnTo>
                    <a:pt x="192" y="225"/>
                  </a:lnTo>
                  <a:lnTo>
                    <a:pt x="192" y="98"/>
                  </a:lnTo>
                  <a:close/>
                  <a:moveTo>
                    <a:pt x="65" y="42"/>
                  </a:moveTo>
                  <a:lnTo>
                    <a:pt x="123" y="71"/>
                  </a:lnTo>
                  <a:lnTo>
                    <a:pt x="123" y="178"/>
                  </a:lnTo>
                  <a:lnTo>
                    <a:pt x="65" y="147"/>
                  </a:lnTo>
                  <a:lnTo>
                    <a:pt x="65" y="42"/>
                  </a:lnTo>
                  <a:close/>
                  <a:moveTo>
                    <a:pt x="7" y="11"/>
                  </a:moveTo>
                  <a:lnTo>
                    <a:pt x="58" y="38"/>
                  </a:lnTo>
                  <a:lnTo>
                    <a:pt x="58" y="142"/>
                  </a:lnTo>
                  <a:lnTo>
                    <a:pt x="7" y="116"/>
                  </a:lnTo>
                  <a:lnTo>
                    <a:pt x="7" y="11"/>
                  </a:lnTo>
                  <a:close/>
                  <a:moveTo>
                    <a:pt x="183" y="211"/>
                  </a:moveTo>
                  <a:lnTo>
                    <a:pt x="130" y="182"/>
                  </a:lnTo>
                  <a:lnTo>
                    <a:pt x="130" y="75"/>
                  </a:lnTo>
                  <a:lnTo>
                    <a:pt x="183" y="104"/>
                  </a:lnTo>
                  <a:lnTo>
                    <a:pt x="183" y="211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9" name="Freeform 372"/>
            <p:cNvSpPr>
              <a:spLocks noEditPoints="1"/>
            </p:cNvSpPr>
            <p:nvPr/>
          </p:nvSpPr>
          <p:spPr bwMode="gray">
            <a:xfrm>
              <a:off x="7234238" y="4313238"/>
              <a:ext cx="290513" cy="238125"/>
            </a:xfrm>
            <a:custGeom>
              <a:avLst/>
              <a:gdLst>
                <a:gd name="T0" fmla="*/ 183 w 183"/>
                <a:gd name="T1" fmla="*/ 43 h 150"/>
                <a:gd name="T2" fmla="*/ 94 w 183"/>
                <a:gd name="T3" fmla="*/ 0 h 150"/>
                <a:gd name="T4" fmla="*/ 0 w 183"/>
                <a:gd name="T5" fmla="*/ 45 h 150"/>
                <a:gd name="T6" fmla="*/ 0 w 183"/>
                <a:gd name="T7" fmla="*/ 101 h 150"/>
                <a:gd name="T8" fmla="*/ 92 w 183"/>
                <a:gd name="T9" fmla="*/ 150 h 150"/>
                <a:gd name="T10" fmla="*/ 183 w 183"/>
                <a:gd name="T11" fmla="*/ 101 h 150"/>
                <a:gd name="T12" fmla="*/ 183 w 183"/>
                <a:gd name="T13" fmla="*/ 43 h 150"/>
                <a:gd name="T14" fmla="*/ 16 w 183"/>
                <a:gd name="T15" fmla="*/ 92 h 150"/>
                <a:gd name="T16" fmla="*/ 16 w 183"/>
                <a:gd name="T17" fmla="*/ 56 h 150"/>
                <a:gd name="T18" fmla="*/ 87 w 183"/>
                <a:gd name="T19" fmla="*/ 94 h 150"/>
                <a:gd name="T20" fmla="*/ 87 w 183"/>
                <a:gd name="T21" fmla="*/ 130 h 150"/>
                <a:gd name="T22" fmla="*/ 16 w 183"/>
                <a:gd name="T23" fmla="*/ 92 h 150"/>
                <a:gd name="T24" fmla="*/ 92 w 183"/>
                <a:gd name="T25" fmla="*/ 92 h 150"/>
                <a:gd name="T26" fmla="*/ 18 w 183"/>
                <a:gd name="T27" fmla="*/ 54 h 150"/>
                <a:gd name="T28" fmla="*/ 23 w 183"/>
                <a:gd name="T29" fmla="*/ 54 h 150"/>
                <a:gd name="T30" fmla="*/ 94 w 183"/>
                <a:gd name="T31" fmla="*/ 18 h 150"/>
                <a:gd name="T32" fmla="*/ 163 w 183"/>
                <a:gd name="T33" fmla="*/ 52 h 150"/>
                <a:gd name="T34" fmla="*/ 165 w 183"/>
                <a:gd name="T35" fmla="*/ 52 h 150"/>
                <a:gd name="T36" fmla="*/ 92 w 183"/>
                <a:gd name="T37" fmla="*/ 92 h 150"/>
                <a:gd name="T38" fmla="*/ 92 w 183"/>
                <a:gd name="T39" fmla="*/ 130 h 150"/>
                <a:gd name="T40" fmla="*/ 92 w 183"/>
                <a:gd name="T41" fmla="*/ 94 h 150"/>
                <a:gd name="T42" fmla="*/ 168 w 183"/>
                <a:gd name="T43" fmla="*/ 56 h 150"/>
                <a:gd name="T44" fmla="*/ 168 w 183"/>
                <a:gd name="T45" fmla="*/ 89 h 150"/>
                <a:gd name="T46" fmla="*/ 92 w 183"/>
                <a:gd name="T47" fmla="*/ 13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3" h="150">
                  <a:moveTo>
                    <a:pt x="183" y="43"/>
                  </a:moveTo>
                  <a:lnTo>
                    <a:pt x="94" y="0"/>
                  </a:lnTo>
                  <a:lnTo>
                    <a:pt x="0" y="45"/>
                  </a:lnTo>
                  <a:lnTo>
                    <a:pt x="0" y="101"/>
                  </a:lnTo>
                  <a:lnTo>
                    <a:pt x="92" y="150"/>
                  </a:lnTo>
                  <a:lnTo>
                    <a:pt x="183" y="101"/>
                  </a:lnTo>
                  <a:lnTo>
                    <a:pt x="183" y="43"/>
                  </a:lnTo>
                  <a:close/>
                  <a:moveTo>
                    <a:pt x="16" y="92"/>
                  </a:moveTo>
                  <a:lnTo>
                    <a:pt x="16" y="56"/>
                  </a:lnTo>
                  <a:lnTo>
                    <a:pt x="87" y="94"/>
                  </a:lnTo>
                  <a:lnTo>
                    <a:pt x="87" y="130"/>
                  </a:lnTo>
                  <a:lnTo>
                    <a:pt x="16" y="92"/>
                  </a:lnTo>
                  <a:close/>
                  <a:moveTo>
                    <a:pt x="92" y="92"/>
                  </a:moveTo>
                  <a:lnTo>
                    <a:pt x="18" y="54"/>
                  </a:lnTo>
                  <a:lnTo>
                    <a:pt x="23" y="54"/>
                  </a:lnTo>
                  <a:lnTo>
                    <a:pt x="94" y="18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92" y="92"/>
                  </a:lnTo>
                  <a:close/>
                  <a:moveTo>
                    <a:pt x="92" y="130"/>
                  </a:moveTo>
                  <a:lnTo>
                    <a:pt x="92" y="94"/>
                  </a:lnTo>
                  <a:lnTo>
                    <a:pt x="168" y="56"/>
                  </a:lnTo>
                  <a:lnTo>
                    <a:pt x="168" y="89"/>
                  </a:lnTo>
                  <a:lnTo>
                    <a:pt x="92" y="130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0" name="Freeform 373"/>
            <p:cNvSpPr>
              <a:spLocks noEditPoints="1"/>
            </p:cNvSpPr>
            <p:nvPr/>
          </p:nvSpPr>
          <p:spPr bwMode="gray">
            <a:xfrm>
              <a:off x="7904163" y="4652963"/>
              <a:ext cx="293688" cy="241300"/>
            </a:xfrm>
            <a:custGeom>
              <a:avLst/>
              <a:gdLst>
                <a:gd name="T0" fmla="*/ 0 w 185"/>
                <a:gd name="T1" fmla="*/ 47 h 152"/>
                <a:gd name="T2" fmla="*/ 0 w 185"/>
                <a:gd name="T3" fmla="*/ 103 h 152"/>
                <a:gd name="T4" fmla="*/ 91 w 185"/>
                <a:gd name="T5" fmla="*/ 152 h 152"/>
                <a:gd name="T6" fmla="*/ 185 w 185"/>
                <a:gd name="T7" fmla="*/ 101 h 152"/>
                <a:gd name="T8" fmla="*/ 185 w 185"/>
                <a:gd name="T9" fmla="*/ 45 h 152"/>
                <a:gd name="T10" fmla="*/ 96 w 185"/>
                <a:gd name="T11" fmla="*/ 0 h 152"/>
                <a:gd name="T12" fmla="*/ 0 w 185"/>
                <a:gd name="T13" fmla="*/ 47 h 152"/>
                <a:gd name="T14" fmla="*/ 18 w 185"/>
                <a:gd name="T15" fmla="*/ 92 h 152"/>
                <a:gd name="T16" fmla="*/ 18 w 185"/>
                <a:gd name="T17" fmla="*/ 58 h 152"/>
                <a:gd name="T18" fmla="*/ 89 w 185"/>
                <a:gd name="T19" fmla="*/ 96 h 152"/>
                <a:gd name="T20" fmla="*/ 89 w 185"/>
                <a:gd name="T21" fmla="*/ 132 h 152"/>
                <a:gd name="T22" fmla="*/ 18 w 185"/>
                <a:gd name="T23" fmla="*/ 92 h 152"/>
                <a:gd name="T24" fmla="*/ 91 w 185"/>
                <a:gd name="T25" fmla="*/ 92 h 152"/>
                <a:gd name="T26" fmla="*/ 20 w 185"/>
                <a:gd name="T27" fmla="*/ 54 h 152"/>
                <a:gd name="T28" fmla="*/ 22 w 185"/>
                <a:gd name="T29" fmla="*/ 54 h 152"/>
                <a:gd name="T30" fmla="*/ 96 w 185"/>
                <a:gd name="T31" fmla="*/ 20 h 152"/>
                <a:gd name="T32" fmla="*/ 162 w 185"/>
                <a:gd name="T33" fmla="*/ 52 h 152"/>
                <a:gd name="T34" fmla="*/ 167 w 185"/>
                <a:gd name="T35" fmla="*/ 52 h 152"/>
                <a:gd name="T36" fmla="*/ 91 w 185"/>
                <a:gd name="T37" fmla="*/ 92 h 152"/>
                <a:gd name="T38" fmla="*/ 93 w 185"/>
                <a:gd name="T39" fmla="*/ 96 h 152"/>
                <a:gd name="T40" fmla="*/ 167 w 185"/>
                <a:gd name="T41" fmla="*/ 56 h 152"/>
                <a:gd name="T42" fmla="*/ 167 w 185"/>
                <a:gd name="T43" fmla="*/ 92 h 152"/>
                <a:gd name="T44" fmla="*/ 93 w 185"/>
                <a:gd name="T45" fmla="*/ 132 h 152"/>
                <a:gd name="T46" fmla="*/ 93 w 185"/>
                <a:gd name="T47" fmla="*/ 9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52">
                  <a:moveTo>
                    <a:pt x="0" y="47"/>
                  </a:moveTo>
                  <a:lnTo>
                    <a:pt x="0" y="103"/>
                  </a:lnTo>
                  <a:lnTo>
                    <a:pt x="91" y="152"/>
                  </a:lnTo>
                  <a:lnTo>
                    <a:pt x="185" y="101"/>
                  </a:lnTo>
                  <a:lnTo>
                    <a:pt x="185" y="45"/>
                  </a:lnTo>
                  <a:lnTo>
                    <a:pt x="96" y="0"/>
                  </a:lnTo>
                  <a:lnTo>
                    <a:pt x="0" y="47"/>
                  </a:lnTo>
                  <a:close/>
                  <a:moveTo>
                    <a:pt x="18" y="92"/>
                  </a:moveTo>
                  <a:lnTo>
                    <a:pt x="18" y="58"/>
                  </a:lnTo>
                  <a:lnTo>
                    <a:pt x="89" y="96"/>
                  </a:lnTo>
                  <a:lnTo>
                    <a:pt x="89" y="132"/>
                  </a:lnTo>
                  <a:lnTo>
                    <a:pt x="18" y="92"/>
                  </a:lnTo>
                  <a:close/>
                  <a:moveTo>
                    <a:pt x="91" y="92"/>
                  </a:moveTo>
                  <a:lnTo>
                    <a:pt x="20" y="54"/>
                  </a:lnTo>
                  <a:lnTo>
                    <a:pt x="22" y="54"/>
                  </a:lnTo>
                  <a:lnTo>
                    <a:pt x="96" y="20"/>
                  </a:lnTo>
                  <a:lnTo>
                    <a:pt x="162" y="52"/>
                  </a:lnTo>
                  <a:lnTo>
                    <a:pt x="167" y="52"/>
                  </a:lnTo>
                  <a:lnTo>
                    <a:pt x="91" y="92"/>
                  </a:lnTo>
                  <a:close/>
                  <a:moveTo>
                    <a:pt x="93" y="96"/>
                  </a:moveTo>
                  <a:lnTo>
                    <a:pt x="167" y="56"/>
                  </a:lnTo>
                  <a:lnTo>
                    <a:pt x="167" y="92"/>
                  </a:lnTo>
                  <a:lnTo>
                    <a:pt x="93" y="132"/>
                  </a:lnTo>
                  <a:lnTo>
                    <a:pt x="93" y="96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1" name="Freeform 374"/>
            <p:cNvSpPr>
              <a:spLocks noEditPoints="1"/>
            </p:cNvSpPr>
            <p:nvPr/>
          </p:nvSpPr>
          <p:spPr bwMode="gray">
            <a:xfrm>
              <a:off x="8929688" y="5346700"/>
              <a:ext cx="112713" cy="258763"/>
            </a:xfrm>
            <a:custGeom>
              <a:avLst/>
              <a:gdLst>
                <a:gd name="T0" fmla="*/ 0 w 71"/>
                <a:gd name="T1" fmla="*/ 38 h 163"/>
                <a:gd name="T2" fmla="*/ 0 w 71"/>
                <a:gd name="T3" fmla="*/ 163 h 163"/>
                <a:gd name="T4" fmla="*/ 71 w 71"/>
                <a:gd name="T5" fmla="*/ 123 h 163"/>
                <a:gd name="T6" fmla="*/ 71 w 71"/>
                <a:gd name="T7" fmla="*/ 0 h 163"/>
                <a:gd name="T8" fmla="*/ 0 w 71"/>
                <a:gd name="T9" fmla="*/ 38 h 163"/>
                <a:gd name="T10" fmla="*/ 62 w 71"/>
                <a:gd name="T11" fmla="*/ 118 h 163"/>
                <a:gd name="T12" fmla="*/ 7 w 71"/>
                <a:gd name="T13" fmla="*/ 152 h 163"/>
                <a:gd name="T14" fmla="*/ 7 w 71"/>
                <a:gd name="T15" fmla="*/ 43 h 163"/>
                <a:gd name="T16" fmla="*/ 62 w 71"/>
                <a:gd name="T17" fmla="*/ 14 h 163"/>
                <a:gd name="T18" fmla="*/ 62 w 71"/>
                <a:gd name="T19" fmla="*/ 11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163">
                  <a:moveTo>
                    <a:pt x="0" y="38"/>
                  </a:moveTo>
                  <a:lnTo>
                    <a:pt x="0" y="163"/>
                  </a:lnTo>
                  <a:lnTo>
                    <a:pt x="71" y="123"/>
                  </a:lnTo>
                  <a:lnTo>
                    <a:pt x="71" y="0"/>
                  </a:lnTo>
                  <a:lnTo>
                    <a:pt x="0" y="38"/>
                  </a:lnTo>
                  <a:close/>
                  <a:moveTo>
                    <a:pt x="62" y="118"/>
                  </a:moveTo>
                  <a:lnTo>
                    <a:pt x="7" y="152"/>
                  </a:lnTo>
                  <a:lnTo>
                    <a:pt x="7" y="43"/>
                  </a:lnTo>
                  <a:lnTo>
                    <a:pt x="62" y="14"/>
                  </a:lnTo>
                  <a:lnTo>
                    <a:pt x="62" y="118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2" name="Freeform 375"/>
            <p:cNvSpPr>
              <a:spLocks noEditPoints="1"/>
            </p:cNvSpPr>
            <p:nvPr/>
          </p:nvSpPr>
          <p:spPr bwMode="gray">
            <a:xfrm>
              <a:off x="8929688" y="5619750"/>
              <a:ext cx="112713" cy="258763"/>
            </a:xfrm>
            <a:custGeom>
              <a:avLst/>
              <a:gdLst>
                <a:gd name="T0" fmla="*/ 71 w 71"/>
                <a:gd name="T1" fmla="*/ 0 h 163"/>
                <a:gd name="T2" fmla="*/ 0 w 71"/>
                <a:gd name="T3" fmla="*/ 36 h 163"/>
                <a:gd name="T4" fmla="*/ 0 w 71"/>
                <a:gd name="T5" fmla="*/ 163 h 163"/>
                <a:gd name="T6" fmla="*/ 71 w 71"/>
                <a:gd name="T7" fmla="*/ 122 h 163"/>
                <a:gd name="T8" fmla="*/ 71 w 71"/>
                <a:gd name="T9" fmla="*/ 0 h 163"/>
                <a:gd name="T10" fmla="*/ 62 w 71"/>
                <a:gd name="T11" fmla="*/ 118 h 163"/>
                <a:gd name="T12" fmla="*/ 7 w 71"/>
                <a:gd name="T13" fmla="*/ 149 h 163"/>
                <a:gd name="T14" fmla="*/ 7 w 71"/>
                <a:gd name="T15" fmla="*/ 40 h 163"/>
                <a:gd name="T16" fmla="*/ 62 w 71"/>
                <a:gd name="T17" fmla="*/ 11 h 163"/>
                <a:gd name="T18" fmla="*/ 62 w 71"/>
                <a:gd name="T19" fmla="*/ 11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163">
                  <a:moveTo>
                    <a:pt x="71" y="0"/>
                  </a:moveTo>
                  <a:lnTo>
                    <a:pt x="0" y="36"/>
                  </a:lnTo>
                  <a:lnTo>
                    <a:pt x="0" y="163"/>
                  </a:lnTo>
                  <a:lnTo>
                    <a:pt x="71" y="122"/>
                  </a:lnTo>
                  <a:lnTo>
                    <a:pt x="71" y="0"/>
                  </a:lnTo>
                  <a:close/>
                  <a:moveTo>
                    <a:pt x="62" y="118"/>
                  </a:moveTo>
                  <a:lnTo>
                    <a:pt x="7" y="149"/>
                  </a:lnTo>
                  <a:lnTo>
                    <a:pt x="7" y="40"/>
                  </a:lnTo>
                  <a:lnTo>
                    <a:pt x="62" y="11"/>
                  </a:lnTo>
                  <a:lnTo>
                    <a:pt x="62" y="118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3" name="Freeform 376"/>
            <p:cNvSpPr>
              <a:spLocks noEditPoints="1"/>
            </p:cNvSpPr>
            <p:nvPr/>
          </p:nvSpPr>
          <p:spPr bwMode="gray">
            <a:xfrm>
              <a:off x="8604250" y="5006975"/>
              <a:ext cx="293688" cy="238125"/>
            </a:xfrm>
            <a:custGeom>
              <a:avLst/>
              <a:gdLst>
                <a:gd name="T0" fmla="*/ 185 w 185"/>
                <a:gd name="T1" fmla="*/ 43 h 150"/>
                <a:gd name="T2" fmla="*/ 96 w 185"/>
                <a:gd name="T3" fmla="*/ 0 h 150"/>
                <a:gd name="T4" fmla="*/ 0 w 185"/>
                <a:gd name="T5" fmla="*/ 47 h 150"/>
                <a:gd name="T6" fmla="*/ 0 w 185"/>
                <a:gd name="T7" fmla="*/ 101 h 150"/>
                <a:gd name="T8" fmla="*/ 91 w 185"/>
                <a:gd name="T9" fmla="*/ 150 h 150"/>
                <a:gd name="T10" fmla="*/ 185 w 185"/>
                <a:gd name="T11" fmla="*/ 101 h 150"/>
                <a:gd name="T12" fmla="*/ 185 w 185"/>
                <a:gd name="T13" fmla="*/ 43 h 150"/>
                <a:gd name="T14" fmla="*/ 18 w 185"/>
                <a:gd name="T15" fmla="*/ 92 h 150"/>
                <a:gd name="T16" fmla="*/ 18 w 185"/>
                <a:gd name="T17" fmla="*/ 58 h 150"/>
                <a:gd name="T18" fmla="*/ 89 w 185"/>
                <a:gd name="T19" fmla="*/ 94 h 150"/>
                <a:gd name="T20" fmla="*/ 89 w 185"/>
                <a:gd name="T21" fmla="*/ 129 h 150"/>
                <a:gd name="T22" fmla="*/ 18 w 185"/>
                <a:gd name="T23" fmla="*/ 92 h 150"/>
                <a:gd name="T24" fmla="*/ 163 w 185"/>
                <a:gd name="T25" fmla="*/ 51 h 150"/>
                <a:gd name="T26" fmla="*/ 167 w 185"/>
                <a:gd name="T27" fmla="*/ 51 h 150"/>
                <a:gd name="T28" fmla="*/ 91 w 185"/>
                <a:gd name="T29" fmla="*/ 92 h 150"/>
                <a:gd name="T30" fmla="*/ 20 w 185"/>
                <a:gd name="T31" fmla="*/ 54 h 150"/>
                <a:gd name="T32" fmla="*/ 22 w 185"/>
                <a:gd name="T33" fmla="*/ 54 h 150"/>
                <a:gd name="T34" fmla="*/ 96 w 185"/>
                <a:gd name="T35" fmla="*/ 18 h 150"/>
                <a:gd name="T36" fmla="*/ 163 w 185"/>
                <a:gd name="T37" fmla="*/ 51 h 150"/>
                <a:gd name="T38" fmla="*/ 94 w 185"/>
                <a:gd name="T39" fmla="*/ 96 h 150"/>
                <a:gd name="T40" fmla="*/ 167 w 185"/>
                <a:gd name="T41" fmla="*/ 56 h 150"/>
                <a:gd name="T42" fmla="*/ 167 w 185"/>
                <a:gd name="T43" fmla="*/ 92 h 150"/>
                <a:gd name="T44" fmla="*/ 94 w 185"/>
                <a:gd name="T45" fmla="*/ 132 h 150"/>
                <a:gd name="T46" fmla="*/ 94 w 185"/>
                <a:gd name="T47" fmla="*/ 96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5" h="150">
                  <a:moveTo>
                    <a:pt x="185" y="43"/>
                  </a:moveTo>
                  <a:lnTo>
                    <a:pt x="96" y="0"/>
                  </a:lnTo>
                  <a:lnTo>
                    <a:pt x="0" y="47"/>
                  </a:lnTo>
                  <a:lnTo>
                    <a:pt x="0" y="101"/>
                  </a:lnTo>
                  <a:lnTo>
                    <a:pt x="91" y="150"/>
                  </a:lnTo>
                  <a:lnTo>
                    <a:pt x="185" y="101"/>
                  </a:lnTo>
                  <a:lnTo>
                    <a:pt x="185" y="43"/>
                  </a:lnTo>
                  <a:close/>
                  <a:moveTo>
                    <a:pt x="18" y="92"/>
                  </a:moveTo>
                  <a:lnTo>
                    <a:pt x="18" y="58"/>
                  </a:lnTo>
                  <a:lnTo>
                    <a:pt x="89" y="94"/>
                  </a:lnTo>
                  <a:lnTo>
                    <a:pt x="89" y="129"/>
                  </a:lnTo>
                  <a:lnTo>
                    <a:pt x="18" y="92"/>
                  </a:lnTo>
                  <a:close/>
                  <a:moveTo>
                    <a:pt x="163" y="51"/>
                  </a:moveTo>
                  <a:lnTo>
                    <a:pt x="167" y="51"/>
                  </a:lnTo>
                  <a:lnTo>
                    <a:pt x="91" y="92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96" y="18"/>
                  </a:lnTo>
                  <a:lnTo>
                    <a:pt x="163" y="51"/>
                  </a:lnTo>
                  <a:close/>
                  <a:moveTo>
                    <a:pt x="94" y="96"/>
                  </a:moveTo>
                  <a:lnTo>
                    <a:pt x="167" y="56"/>
                  </a:lnTo>
                  <a:lnTo>
                    <a:pt x="167" y="92"/>
                  </a:lnTo>
                  <a:lnTo>
                    <a:pt x="94" y="132"/>
                  </a:lnTo>
                  <a:lnTo>
                    <a:pt x="94" y="96"/>
                  </a:lnTo>
                  <a:close/>
                </a:path>
              </a:pathLst>
            </a:custGeom>
            <a:solidFill>
              <a:srgbClr val="657E2D"/>
            </a:solidFill>
            <a:ln w="9525">
              <a:solidFill>
                <a:srgbClr val="647D2D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54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309235" y="3716338"/>
            <a:ext cx="2102400" cy="2160587"/>
          </a:xfrm>
          <a:prstGeom prst="rect">
            <a:avLst/>
          </a:prstGeom>
          <a:solidFill>
            <a:srgbClr val="879628"/>
          </a:solidFill>
          <a:ln w="9525">
            <a:noFill/>
            <a:miter lim="800000"/>
            <a:headEnd/>
            <a:tailEnd/>
          </a:ln>
        </p:spPr>
        <p:txBody>
          <a:bodyPr wrap="square" lIns="144000" tIns="144000" rIns="72000" bIns="144000" anchor="t">
            <a:noAutofit/>
          </a:bodyPr>
          <a:lstStyle/>
          <a:p>
            <a:pPr>
              <a:spcBef>
                <a:spcPts val="600"/>
              </a:spcBef>
            </a:pPr>
            <a:r>
              <a:rPr lang="fr-CA" sz="2200" b="1" dirty="0" smtClean="0">
                <a:solidFill>
                  <a:schemeClr val="bg1"/>
                </a:solidFill>
              </a:rPr>
              <a:t>Partenariats avec des universités et des instituts de recherche</a:t>
            </a:r>
            <a:endParaRPr lang="en-US" sz="2200" b="1" dirty="0" smtClean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2200" b="1" dirty="0" smtClean="0">
              <a:solidFill>
                <a:schemeClr val="bg1"/>
              </a:solidFill>
            </a:endParaRPr>
          </a:p>
        </p:txBody>
      </p:sp>
      <p:sp>
        <p:nvSpPr>
          <p:cNvPr id="355" name="Flussdiagramm: Zusammenführen 16"/>
          <p:cNvSpPr/>
          <p:nvPr/>
        </p:nvSpPr>
        <p:spPr bwMode="gray">
          <a:xfrm flipV="1">
            <a:off x="8151234" y="3571230"/>
            <a:ext cx="288000" cy="145108"/>
          </a:xfrm>
          <a:prstGeom prst="flowChartMerge">
            <a:avLst/>
          </a:prstGeom>
          <a:solidFill>
            <a:srgbClr val="879628"/>
          </a:solidFill>
        </p:spPr>
        <p:txBody>
          <a:bodyPr lIns="144000" tIns="108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56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876015" y="3717032"/>
            <a:ext cx="2102400" cy="2160587"/>
          </a:xfrm>
          <a:prstGeom prst="rect">
            <a:avLst/>
          </a:prstGeom>
          <a:solidFill>
            <a:srgbClr val="41AAC8"/>
          </a:solidFill>
          <a:ln w="9525">
            <a:noFill/>
            <a:miter lim="800000"/>
            <a:headEnd/>
            <a:tailEnd/>
          </a:ln>
        </p:spPr>
        <p:txBody>
          <a:bodyPr wrap="square" lIns="144000" tIns="144000" rIns="0" bIns="144000" anchor="t">
            <a:noAutofit/>
          </a:bodyPr>
          <a:lstStyle/>
          <a:p>
            <a:pPr>
              <a:spcBef>
                <a:spcPts val="600"/>
              </a:spcBef>
            </a:pPr>
            <a:r>
              <a:rPr lang="fr-CA" sz="2200" b="1" dirty="0" smtClean="0">
                <a:solidFill>
                  <a:schemeClr val="bg1"/>
                </a:solidFill>
              </a:rPr>
              <a:t>Plateformes de collaboration et d’échange </a:t>
            </a:r>
            <a:endParaRPr lang="en-US" sz="2200" b="1" dirty="0" smtClean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357" name="Flussdiagramm: Zusammenführen 16"/>
          <p:cNvSpPr/>
          <p:nvPr/>
        </p:nvSpPr>
        <p:spPr bwMode="gray">
          <a:xfrm flipV="1">
            <a:off x="3781613" y="3571230"/>
            <a:ext cx="288000" cy="145108"/>
          </a:xfrm>
          <a:prstGeom prst="flowChartMerge">
            <a:avLst/>
          </a:prstGeom>
          <a:solidFill>
            <a:srgbClr val="41AAC8"/>
          </a:solidFill>
        </p:spPr>
        <p:txBody>
          <a:bodyPr lIns="144000" tIns="108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58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91035" y="3716338"/>
            <a:ext cx="2102400" cy="2160587"/>
          </a:xfrm>
          <a:prstGeom prst="rect">
            <a:avLst/>
          </a:prstGeom>
          <a:solidFill>
            <a:srgbClr val="647D2D"/>
          </a:solidFill>
          <a:ln w="9525">
            <a:noFill/>
            <a:miter lim="800000"/>
            <a:headEnd/>
            <a:tailEnd/>
          </a:ln>
        </p:spPr>
        <p:txBody>
          <a:bodyPr wrap="square" lIns="144000" tIns="144000" rIns="72000" bIns="144000" anchor="t">
            <a:noAutofit/>
          </a:bodyPr>
          <a:lstStyle/>
          <a:p>
            <a:pPr>
              <a:spcBef>
                <a:spcPts val="600"/>
              </a:spcBef>
            </a:pPr>
            <a:r>
              <a:rPr lang="fr-CA" sz="2200" b="1" dirty="0" smtClean="0">
                <a:solidFill>
                  <a:schemeClr val="bg1"/>
                </a:solidFill>
              </a:rPr>
              <a:t>Collaboration avec des entreprises en démarrage </a:t>
            </a:r>
            <a:endParaRPr lang="en-US" sz="2200" b="1" dirty="0" smtClean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2200" b="1" dirty="0">
              <a:solidFill>
                <a:schemeClr val="bg1"/>
              </a:solidFill>
            </a:endParaRPr>
          </a:p>
        </p:txBody>
      </p:sp>
      <p:sp>
        <p:nvSpPr>
          <p:cNvPr id="359" name="Flussdiagramm: Zusammenführen 16"/>
          <p:cNvSpPr/>
          <p:nvPr/>
        </p:nvSpPr>
        <p:spPr bwMode="gray">
          <a:xfrm flipV="1">
            <a:off x="5883145" y="3571230"/>
            <a:ext cx="288000" cy="145108"/>
          </a:xfrm>
          <a:prstGeom prst="flowChartMerge">
            <a:avLst/>
          </a:prstGeom>
          <a:solidFill>
            <a:srgbClr val="647D2D"/>
          </a:solidFill>
        </p:spPr>
        <p:txBody>
          <a:bodyPr lIns="144000" tIns="108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60" name="Flussdiagramm: Zusammenführen 16"/>
          <p:cNvSpPr/>
          <p:nvPr/>
        </p:nvSpPr>
        <p:spPr bwMode="gray">
          <a:xfrm flipV="1">
            <a:off x="10347805" y="3571230"/>
            <a:ext cx="288000" cy="145108"/>
          </a:xfrm>
          <a:prstGeom prst="flowChartMerge">
            <a:avLst/>
          </a:prstGeom>
          <a:solidFill>
            <a:srgbClr val="3C464B"/>
          </a:solidFill>
        </p:spPr>
        <p:txBody>
          <a:bodyPr lIns="144000" tIns="108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61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59963" y="3716338"/>
            <a:ext cx="2226899" cy="2160587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144000" tIns="144000" rIns="72000" bIns="144000" anchor="t">
            <a:noAutofit/>
          </a:bodyPr>
          <a:lstStyle/>
          <a:p>
            <a:r>
              <a:rPr lang="fr-CA" sz="2200" b="1" dirty="0" smtClean="0">
                <a:solidFill>
                  <a:schemeClr val="bg1"/>
                </a:solidFill>
              </a:rPr>
              <a:t>Recherche participative d’idées </a:t>
            </a:r>
            <a:endParaRPr lang="en-US" sz="2200" b="1" dirty="0" smtClean="0">
              <a:solidFill>
                <a:schemeClr val="bg1"/>
              </a:solidFill>
            </a:endParaRPr>
          </a:p>
        </p:txBody>
      </p:sp>
      <p:sp>
        <p:nvSpPr>
          <p:cNvPr id="362" name="Flussdiagramm: Zusammenführen 16"/>
          <p:cNvSpPr/>
          <p:nvPr/>
        </p:nvSpPr>
        <p:spPr bwMode="gray">
          <a:xfrm flipV="1">
            <a:off x="1534787" y="3571230"/>
            <a:ext cx="288000" cy="145108"/>
          </a:xfrm>
          <a:prstGeom prst="flowChartMerge">
            <a:avLst/>
          </a:prstGeom>
          <a:solidFill>
            <a:schemeClr val="accent5"/>
          </a:solidFill>
        </p:spPr>
        <p:txBody>
          <a:bodyPr lIns="144000" tIns="108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63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9487361" y="3717032"/>
            <a:ext cx="2246625" cy="2160587"/>
          </a:xfrm>
          <a:prstGeom prst="rect">
            <a:avLst/>
          </a:prstGeom>
          <a:solidFill>
            <a:srgbClr val="3C464B"/>
          </a:solidFill>
          <a:ln w="9525">
            <a:noFill/>
            <a:miter lim="800000"/>
            <a:headEnd/>
            <a:tailEnd/>
          </a:ln>
        </p:spPr>
        <p:txBody>
          <a:bodyPr wrap="square" lIns="144000" tIns="144000" rIns="72000" bIns="144000" anchor="t">
            <a:noAutofit/>
          </a:bodyPr>
          <a:lstStyle/>
          <a:p>
            <a:pPr>
              <a:spcBef>
                <a:spcPts val="600"/>
              </a:spcBef>
            </a:pPr>
            <a:r>
              <a:rPr lang="fr-CA" sz="2000" b="1" dirty="0" smtClean="0">
                <a:solidFill>
                  <a:schemeClr val="bg1"/>
                </a:solidFill>
              </a:rPr>
              <a:t>Coopération avec des partenaires </a:t>
            </a:r>
            <a:r>
              <a:rPr lang="fr-CA" b="1" dirty="0" smtClean="0">
                <a:solidFill>
                  <a:schemeClr val="bg1"/>
                </a:solidFill>
              </a:rPr>
              <a:t>gouvernementaux</a:t>
            </a:r>
            <a:endParaRPr lang="en-US" sz="2000" b="1" dirty="0" smtClean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2200" b="1" dirty="0">
              <a:solidFill>
                <a:schemeClr val="bg1"/>
              </a:solidFill>
            </a:endParaRPr>
          </a:p>
        </p:txBody>
      </p:sp>
      <p:grpSp>
        <p:nvGrpSpPr>
          <p:cNvPr id="8" name="Gruppieren 552"/>
          <p:cNvGrpSpPr/>
          <p:nvPr/>
        </p:nvGrpSpPr>
        <p:grpSpPr bwMode="gray">
          <a:xfrm>
            <a:off x="9865712" y="1880146"/>
            <a:ext cx="1597676" cy="1274346"/>
            <a:chOff x="9865712" y="1880146"/>
            <a:chExt cx="1597676" cy="1274346"/>
          </a:xfrm>
        </p:grpSpPr>
        <p:grpSp>
          <p:nvGrpSpPr>
            <p:cNvPr id="10" name="Group 5"/>
            <p:cNvGrpSpPr>
              <a:grpSpLocks noChangeAspect="1"/>
            </p:cNvGrpSpPr>
            <p:nvPr/>
          </p:nvGrpSpPr>
          <p:grpSpPr bwMode="gray">
            <a:xfrm>
              <a:off x="10084152" y="2055299"/>
              <a:ext cx="1379236" cy="1099193"/>
              <a:chOff x="3181" y="1636"/>
              <a:chExt cx="1315" cy="1048"/>
            </a:xfrm>
            <a:solidFill>
              <a:srgbClr val="3C464B"/>
            </a:solidFill>
          </p:grpSpPr>
          <p:sp>
            <p:nvSpPr>
              <p:cNvPr id="442" name="Freeform 6"/>
              <p:cNvSpPr>
                <a:spLocks/>
              </p:cNvSpPr>
              <p:nvPr/>
            </p:nvSpPr>
            <p:spPr bwMode="gray">
              <a:xfrm>
                <a:off x="3219" y="1802"/>
                <a:ext cx="38" cy="22"/>
              </a:xfrm>
              <a:custGeom>
                <a:avLst/>
                <a:gdLst>
                  <a:gd name="T0" fmla="*/ 14 w 16"/>
                  <a:gd name="T1" fmla="*/ 9 h 9"/>
                  <a:gd name="T2" fmla="*/ 13 w 16"/>
                  <a:gd name="T3" fmla="*/ 9 h 9"/>
                  <a:gd name="T4" fmla="*/ 2 w 16"/>
                  <a:gd name="T5" fmla="*/ 4 h 9"/>
                  <a:gd name="T6" fmla="*/ 1 w 16"/>
                  <a:gd name="T7" fmla="*/ 2 h 9"/>
                  <a:gd name="T8" fmla="*/ 4 w 16"/>
                  <a:gd name="T9" fmla="*/ 1 h 9"/>
                  <a:gd name="T10" fmla="*/ 15 w 16"/>
                  <a:gd name="T11" fmla="*/ 5 h 9"/>
                  <a:gd name="T12" fmla="*/ 16 w 16"/>
                  <a:gd name="T13" fmla="*/ 7 h 9"/>
                  <a:gd name="T14" fmla="*/ 15 w 16"/>
                  <a:gd name="T15" fmla="*/ 9 h 9"/>
                  <a:gd name="T16" fmla="*/ 14 w 16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9">
                    <a:moveTo>
                      <a:pt x="14" y="9"/>
                    </a:moveTo>
                    <a:cubicBezTo>
                      <a:pt x="13" y="9"/>
                      <a:pt x="13" y="9"/>
                      <a:pt x="13" y="9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1" y="2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6"/>
                      <a:pt x="16" y="6"/>
                      <a:pt x="16" y="7"/>
                    </a:cubicBezTo>
                    <a:cubicBezTo>
                      <a:pt x="16" y="8"/>
                      <a:pt x="15" y="9"/>
                      <a:pt x="15" y="9"/>
                    </a:cubicBezTo>
                    <a:cubicBezTo>
                      <a:pt x="14" y="9"/>
                      <a:pt x="14" y="9"/>
                      <a:pt x="14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3" name="Freeform 7"/>
              <p:cNvSpPr>
                <a:spLocks/>
              </p:cNvSpPr>
              <p:nvPr/>
            </p:nvSpPr>
            <p:spPr bwMode="gray">
              <a:xfrm>
                <a:off x="3552" y="1653"/>
                <a:ext cx="421" cy="192"/>
              </a:xfrm>
              <a:custGeom>
                <a:avLst/>
                <a:gdLst>
                  <a:gd name="T0" fmla="*/ 175 w 177"/>
                  <a:gd name="T1" fmla="*/ 81 h 81"/>
                  <a:gd name="T2" fmla="*/ 174 w 177"/>
                  <a:gd name="T3" fmla="*/ 81 h 81"/>
                  <a:gd name="T4" fmla="*/ 174 w 177"/>
                  <a:gd name="T5" fmla="*/ 81 h 81"/>
                  <a:gd name="T6" fmla="*/ 1 w 177"/>
                  <a:gd name="T7" fmla="*/ 4 h 81"/>
                  <a:gd name="T8" fmla="*/ 0 w 177"/>
                  <a:gd name="T9" fmla="*/ 2 h 81"/>
                  <a:gd name="T10" fmla="*/ 1 w 177"/>
                  <a:gd name="T11" fmla="*/ 0 h 81"/>
                  <a:gd name="T12" fmla="*/ 3 w 177"/>
                  <a:gd name="T13" fmla="*/ 0 h 81"/>
                  <a:gd name="T14" fmla="*/ 176 w 177"/>
                  <a:gd name="T15" fmla="*/ 78 h 81"/>
                  <a:gd name="T16" fmla="*/ 177 w 177"/>
                  <a:gd name="T17" fmla="*/ 80 h 81"/>
                  <a:gd name="T18" fmla="*/ 175 w 177"/>
                  <a:gd name="T1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7" h="81">
                    <a:moveTo>
                      <a:pt x="175" y="81"/>
                    </a:moveTo>
                    <a:cubicBezTo>
                      <a:pt x="175" y="81"/>
                      <a:pt x="174" y="81"/>
                      <a:pt x="174" y="81"/>
                    </a:cubicBezTo>
                    <a:cubicBezTo>
                      <a:pt x="174" y="81"/>
                      <a:pt x="174" y="81"/>
                      <a:pt x="174" y="81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76" y="78"/>
                      <a:pt x="176" y="78"/>
                      <a:pt x="176" y="78"/>
                    </a:cubicBezTo>
                    <a:cubicBezTo>
                      <a:pt x="177" y="78"/>
                      <a:pt x="177" y="79"/>
                      <a:pt x="177" y="80"/>
                    </a:cubicBezTo>
                    <a:cubicBezTo>
                      <a:pt x="176" y="81"/>
                      <a:pt x="176" y="81"/>
                      <a:pt x="175" y="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4" name="Freeform 8"/>
              <p:cNvSpPr>
                <a:spLocks/>
              </p:cNvSpPr>
              <p:nvPr/>
            </p:nvSpPr>
            <p:spPr bwMode="gray">
              <a:xfrm>
                <a:off x="4448" y="2054"/>
                <a:ext cx="10" cy="10"/>
              </a:xfrm>
              <a:custGeom>
                <a:avLst/>
                <a:gdLst>
                  <a:gd name="T0" fmla="*/ 2 w 4"/>
                  <a:gd name="T1" fmla="*/ 4 h 4"/>
                  <a:gd name="T2" fmla="*/ 1 w 4"/>
                  <a:gd name="T3" fmla="*/ 3 h 4"/>
                  <a:gd name="T4" fmla="*/ 0 w 4"/>
                  <a:gd name="T5" fmla="*/ 2 h 4"/>
                  <a:gd name="T6" fmla="*/ 2 w 4"/>
                  <a:gd name="T7" fmla="*/ 1 h 4"/>
                  <a:gd name="T8" fmla="*/ 4 w 4"/>
                  <a:gd name="T9" fmla="*/ 1 h 4"/>
                  <a:gd name="T10" fmla="*/ 4 w 4"/>
                  <a:gd name="T11" fmla="*/ 2 h 4"/>
                  <a:gd name="T12" fmla="*/ 3 w 4"/>
                  <a:gd name="T13" fmla="*/ 4 h 4"/>
                  <a:gd name="T14" fmla="*/ 3 w 4"/>
                  <a:gd name="T15" fmla="*/ 4 h 4"/>
                  <a:gd name="T16" fmla="*/ 2 w 4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2" y="4"/>
                      <a:pt x="1" y="4"/>
                      <a:pt x="1" y="3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5" name="Freeform 9"/>
              <p:cNvSpPr>
                <a:spLocks/>
              </p:cNvSpPr>
              <p:nvPr/>
            </p:nvSpPr>
            <p:spPr bwMode="gray">
              <a:xfrm>
                <a:off x="3985" y="2126"/>
                <a:ext cx="31" cy="19"/>
              </a:xfrm>
              <a:custGeom>
                <a:avLst/>
                <a:gdLst>
                  <a:gd name="T0" fmla="*/ 2 w 13"/>
                  <a:gd name="T1" fmla="*/ 8 h 8"/>
                  <a:gd name="T2" fmla="*/ 0 w 13"/>
                  <a:gd name="T3" fmla="*/ 7 h 8"/>
                  <a:gd name="T4" fmla="*/ 0 w 13"/>
                  <a:gd name="T5" fmla="*/ 6 h 8"/>
                  <a:gd name="T6" fmla="*/ 1 w 13"/>
                  <a:gd name="T7" fmla="*/ 5 h 8"/>
                  <a:gd name="T8" fmla="*/ 11 w 13"/>
                  <a:gd name="T9" fmla="*/ 0 h 8"/>
                  <a:gd name="T10" fmla="*/ 13 w 13"/>
                  <a:gd name="T11" fmla="*/ 1 h 8"/>
                  <a:gd name="T12" fmla="*/ 13 w 13"/>
                  <a:gd name="T13" fmla="*/ 2 h 8"/>
                  <a:gd name="T14" fmla="*/ 12 w 13"/>
                  <a:gd name="T15" fmla="*/ 4 h 8"/>
                  <a:gd name="T16" fmla="*/ 3 w 13"/>
                  <a:gd name="T17" fmla="*/ 8 h 8"/>
                  <a:gd name="T18" fmla="*/ 2 w 13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8">
                    <a:moveTo>
                      <a:pt x="2" y="8"/>
                    </a:moveTo>
                    <a:cubicBezTo>
                      <a:pt x="1" y="8"/>
                      <a:pt x="1" y="8"/>
                      <a:pt x="0" y="7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3" y="0"/>
                      <a:pt x="13" y="1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3"/>
                      <a:pt x="13" y="4"/>
                      <a:pt x="12" y="4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2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6" name="Freeform 10"/>
              <p:cNvSpPr>
                <a:spLocks/>
              </p:cNvSpPr>
              <p:nvPr/>
            </p:nvSpPr>
            <p:spPr bwMode="gray">
              <a:xfrm>
                <a:off x="3552" y="1676"/>
                <a:ext cx="879" cy="400"/>
              </a:xfrm>
              <a:custGeom>
                <a:avLst/>
                <a:gdLst>
                  <a:gd name="T0" fmla="*/ 368 w 370"/>
                  <a:gd name="T1" fmla="*/ 168 h 168"/>
                  <a:gd name="T2" fmla="*/ 368 w 370"/>
                  <a:gd name="T3" fmla="*/ 168 h 168"/>
                  <a:gd name="T4" fmla="*/ 1 w 370"/>
                  <a:gd name="T5" fmla="*/ 4 h 168"/>
                  <a:gd name="T6" fmla="*/ 0 w 370"/>
                  <a:gd name="T7" fmla="*/ 2 h 168"/>
                  <a:gd name="T8" fmla="*/ 0 w 370"/>
                  <a:gd name="T9" fmla="*/ 1 h 168"/>
                  <a:gd name="T10" fmla="*/ 3 w 370"/>
                  <a:gd name="T11" fmla="*/ 0 h 168"/>
                  <a:gd name="T12" fmla="*/ 369 w 370"/>
                  <a:gd name="T13" fmla="*/ 165 h 168"/>
                  <a:gd name="T14" fmla="*/ 370 w 370"/>
                  <a:gd name="T15" fmla="*/ 166 h 168"/>
                  <a:gd name="T16" fmla="*/ 370 w 370"/>
                  <a:gd name="T17" fmla="*/ 167 h 168"/>
                  <a:gd name="T18" fmla="*/ 368 w 370"/>
                  <a:gd name="T1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0" h="168">
                    <a:moveTo>
                      <a:pt x="368" y="168"/>
                    </a:moveTo>
                    <a:cubicBezTo>
                      <a:pt x="368" y="168"/>
                      <a:pt x="368" y="168"/>
                      <a:pt x="368" y="168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3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69" y="165"/>
                      <a:pt x="369" y="165"/>
                      <a:pt x="369" y="165"/>
                    </a:cubicBezTo>
                    <a:cubicBezTo>
                      <a:pt x="370" y="165"/>
                      <a:pt x="370" y="166"/>
                      <a:pt x="370" y="166"/>
                    </a:cubicBezTo>
                    <a:cubicBezTo>
                      <a:pt x="370" y="167"/>
                      <a:pt x="370" y="167"/>
                      <a:pt x="370" y="167"/>
                    </a:cubicBezTo>
                    <a:cubicBezTo>
                      <a:pt x="370" y="168"/>
                      <a:pt x="369" y="168"/>
                      <a:pt x="368" y="1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7" name="Freeform 11"/>
              <p:cNvSpPr>
                <a:spLocks/>
              </p:cNvSpPr>
              <p:nvPr/>
            </p:nvSpPr>
            <p:spPr bwMode="gray">
              <a:xfrm>
                <a:off x="3203" y="1812"/>
                <a:ext cx="35" cy="21"/>
              </a:xfrm>
              <a:custGeom>
                <a:avLst/>
                <a:gdLst>
                  <a:gd name="T0" fmla="*/ 13 w 15"/>
                  <a:gd name="T1" fmla="*/ 9 h 9"/>
                  <a:gd name="T2" fmla="*/ 12 w 15"/>
                  <a:gd name="T3" fmla="*/ 9 h 9"/>
                  <a:gd name="T4" fmla="*/ 1 w 15"/>
                  <a:gd name="T5" fmla="*/ 4 h 9"/>
                  <a:gd name="T6" fmla="*/ 0 w 15"/>
                  <a:gd name="T7" fmla="*/ 2 h 9"/>
                  <a:gd name="T8" fmla="*/ 0 w 15"/>
                  <a:gd name="T9" fmla="*/ 1 h 9"/>
                  <a:gd name="T10" fmla="*/ 2 w 15"/>
                  <a:gd name="T11" fmla="*/ 0 h 9"/>
                  <a:gd name="T12" fmla="*/ 13 w 15"/>
                  <a:gd name="T13" fmla="*/ 5 h 9"/>
                  <a:gd name="T14" fmla="*/ 15 w 15"/>
                  <a:gd name="T15" fmla="*/ 7 h 9"/>
                  <a:gd name="T16" fmla="*/ 14 w 15"/>
                  <a:gd name="T17" fmla="*/ 8 h 9"/>
                  <a:gd name="T18" fmla="*/ 13 w 15"/>
                  <a:gd name="T1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9">
                    <a:moveTo>
                      <a:pt x="13" y="9"/>
                    </a:moveTo>
                    <a:cubicBezTo>
                      <a:pt x="12" y="9"/>
                      <a:pt x="12" y="9"/>
                      <a:pt x="12" y="9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4" y="5"/>
                      <a:pt x="15" y="6"/>
                      <a:pt x="15" y="7"/>
                    </a:cubicBezTo>
                    <a:cubicBezTo>
                      <a:pt x="15" y="7"/>
                      <a:pt x="15" y="7"/>
                      <a:pt x="14" y="8"/>
                    </a:cubicBezTo>
                    <a:cubicBezTo>
                      <a:pt x="14" y="8"/>
                      <a:pt x="13" y="9"/>
                      <a:pt x="1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8" name="Freeform 12"/>
              <p:cNvSpPr>
                <a:spLocks/>
              </p:cNvSpPr>
              <p:nvPr/>
            </p:nvSpPr>
            <p:spPr bwMode="gray">
              <a:xfrm>
                <a:off x="3181" y="2031"/>
                <a:ext cx="31" cy="16"/>
              </a:xfrm>
              <a:custGeom>
                <a:avLst/>
                <a:gdLst>
                  <a:gd name="T0" fmla="*/ 10 w 13"/>
                  <a:gd name="T1" fmla="*/ 7 h 7"/>
                  <a:gd name="T2" fmla="*/ 10 w 13"/>
                  <a:gd name="T3" fmla="*/ 7 h 7"/>
                  <a:gd name="T4" fmla="*/ 10 w 13"/>
                  <a:gd name="T5" fmla="*/ 7 h 7"/>
                  <a:gd name="T6" fmla="*/ 2 w 13"/>
                  <a:gd name="T7" fmla="*/ 4 h 7"/>
                  <a:gd name="T8" fmla="*/ 1 w 13"/>
                  <a:gd name="T9" fmla="*/ 1 h 7"/>
                  <a:gd name="T10" fmla="*/ 3 w 13"/>
                  <a:gd name="T11" fmla="*/ 0 h 7"/>
                  <a:gd name="T12" fmla="*/ 11 w 13"/>
                  <a:gd name="T13" fmla="*/ 4 h 7"/>
                  <a:gd name="T14" fmla="*/ 12 w 13"/>
                  <a:gd name="T15" fmla="*/ 6 h 7"/>
                  <a:gd name="T16" fmla="*/ 10 w 13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7"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2" y="4"/>
                      <a:pt x="13" y="5"/>
                      <a:pt x="12" y="6"/>
                    </a:cubicBezTo>
                    <a:cubicBezTo>
                      <a:pt x="12" y="7"/>
                      <a:pt x="11" y="7"/>
                      <a:pt x="1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9" name="Freeform 13"/>
              <p:cNvSpPr>
                <a:spLocks/>
              </p:cNvSpPr>
              <p:nvPr/>
            </p:nvSpPr>
            <p:spPr bwMode="gray">
              <a:xfrm>
                <a:off x="3222" y="1672"/>
                <a:ext cx="294" cy="140"/>
              </a:xfrm>
              <a:custGeom>
                <a:avLst/>
                <a:gdLst>
                  <a:gd name="T0" fmla="*/ 2 w 124"/>
                  <a:gd name="T1" fmla="*/ 59 h 59"/>
                  <a:gd name="T2" fmla="*/ 1 w 124"/>
                  <a:gd name="T3" fmla="*/ 59 h 59"/>
                  <a:gd name="T4" fmla="*/ 0 w 124"/>
                  <a:gd name="T5" fmla="*/ 57 h 59"/>
                  <a:gd name="T6" fmla="*/ 1 w 124"/>
                  <a:gd name="T7" fmla="*/ 55 h 59"/>
                  <a:gd name="T8" fmla="*/ 121 w 124"/>
                  <a:gd name="T9" fmla="*/ 1 h 59"/>
                  <a:gd name="T10" fmla="*/ 124 w 124"/>
                  <a:gd name="T11" fmla="*/ 2 h 59"/>
                  <a:gd name="T12" fmla="*/ 123 w 124"/>
                  <a:gd name="T13" fmla="*/ 4 h 59"/>
                  <a:gd name="T14" fmla="*/ 2 w 124"/>
                  <a:gd name="T15" fmla="*/ 59 h 59"/>
                  <a:gd name="T16" fmla="*/ 2 w 124"/>
                  <a:gd name="T17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59">
                    <a:moveTo>
                      <a:pt x="2" y="59"/>
                    </a:moveTo>
                    <a:cubicBezTo>
                      <a:pt x="1" y="59"/>
                      <a:pt x="1" y="59"/>
                      <a:pt x="1" y="59"/>
                    </a:cubicBezTo>
                    <a:cubicBezTo>
                      <a:pt x="0" y="59"/>
                      <a:pt x="0" y="58"/>
                      <a:pt x="0" y="57"/>
                    </a:cubicBezTo>
                    <a:cubicBezTo>
                      <a:pt x="0" y="57"/>
                      <a:pt x="0" y="56"/>
                      <a:pt x="1" y="55"/>
                    </a:cubicBezTo>
                    <a:cubicBezTo>
                      <a:pt x="121" y="1"/>
                      <a:pt x="121" y="1"/>
                      <a:pt x="121" y="1"/>
                    </a:cubicBezTo>
                    <a:cubicBezTo>
                      <a:pt x="122" y="0"/>
                      <a:pt x="124" y="1"/>
                      <a:pt x="124" y="2"/>
                    </a:cubicBezTo>
                    <a:cubicBezTo>
                      <a:pt x="124" y="3"/>
                      <a:pt x="124" y="4"/>
                      <a:pt x="123" y="4"/>
                    </a:cubicBezTo>
                    <a:cubicBezTo>
                      <a:pt x="2" y="59"/>
                      <a:pt x="2" y="59"/>
                      <a:pt x="2" y="59"/>
                    </a:cubicBezTo>
                    <a:cubicBezTo>
                      <a:pt x="2" y="59"/>
                      <a:pt x="2" y="59"/>
                      <a:pt x="2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0" name="Freeform 14"/>
              <p:cNvSpPr>
                <a:spLocks/>
              </p:cNvSpPr>
              <p:nvPr/>
            </p:nvSpPr>
            <p:spPr bwMode="gray">
              <a:xfrm>
                <a:off x="4441" y="2064"/>
                <a:ext cx="36" cy="21"/>
              </a:xfrm>
              <a:custGeom>
                <a:avLst/>
                <a:gdLst>
                  <a:gd name="T0" fmla="*/ 2 w 15"/>
                  <a:gd name="T1" fmla="*/ 9 h 9"/>
                  <a:gd name="T2" fmla="*/ 1 w 15"/>
                  <a:gd name="T3" fmla="*/ 8 h 9"/>
                  <a:gd name="T4" fmla="*/ 0 w 15"/>
                  <a:gd name="T5" fmla="*/ 7 h 9"/>
                  <a:gd name="T6" fmla="*/ 2 w 15"/>
                  <a:gd name="T7" fmla="*/ 5 h 9"/>
                  <a:gd name="T8" fmla="*/ 13 w 15"/>
                  <a:gd name="T9" fmla="*/ 0 h 9"/>
                  <a:gd name="T10" fmla="*/ 15 w 15"/>
                  <a:gd name="T11" fmla="*/ 1 h 9"/>
                  <a:gd name="T12" fmla="*/ 15 w 15"/>
                  <a:gd name="T13" fmla="*/ 2 h 9"/>
                  <a:gd name="T14" fmla="*/ 14 w 15"/>
                  <a:gd name="T15" fmla="*/ 4 h 9"/>
                  <a:gd name="T16" fmla="*/ 3 w 15"/>
                  <a:gd name="T17" fmla="*/ 9 h 9"/>
                  <a:gd name="T18" fmla="*/ 2 w 15"/>
                  <a:gd name="T1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9">
                    <a:moveTo>
                      <a:pt x="2" y="9"/>
                    </a:moveTo>
                    <a:cubicBezTo>
                      <a:pt x="2" y="9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6"/>
                      <a:pt x="1" y="5"/>
                      <a:pt x="2" y="5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4" y="0"/>
                      <a:pt x="15" y="0"/>
                      <a:pt x="15" y="1"/>
                    </a:cubicBezTo>
                    <a:cubicBezTo>
                      <a:pt x="15" y="1"/>
                      <a:pt x="15" y="2"/>
                      <a:pt x="15" y="2"/>
                    </a:cubicBezTo>
                    <a:cubicBezTo>
                      <a:pt x="15" y="3"/>
                      <a:pt x="15" y="3"/>
                      <a:pt x="14" y="4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1" name="Freeform 15"/>
              <p:cNvSpPr>
                <a:spLocks/>
              </p:cNvSpPr>
              <p:nvPr/>
            </p:nvSpPr>
            <p:spPr bwMode="gray">
              <a:xfrm>
                <a:off x="3198" y="2223"/>
                <a:ext cx="12" cy="12"/>
              </a:xfrm>
              <a:custGeom>
                <a:avLst/>
                <a:gdLst>
                  <a:gd name="T0" fmla="*/ 2 w 5"/>
                  <a:gd name="T1" fmla="*/ 5 h 5"/>
                  <a:gd name="T2" fmla="*/ 0 w 5"/>
                  <a:gd name="T3" fmla="*/ 4 h 5"/>
                  <a:gd name="T4" fmla="*/ 0 w 5"/>
                  <a:gd name="T5" fmla="*/ 3 h 5"/>
                  <a:gd name="T6" fmla="*/ 1 w 5"/>
                  <a:gd name="T7" fmla="*/ 2 h 5"/>
                  <a:gd name="T8" fmla="*/ 3 w 5"/>
                  <a:gd name="T9" fmla="*/ 1 h 5"/>
                  <a:gd name="T10" fmla="*/ 5 w 5"/>
                  <a:gd name="T11" fmla="*/ 2 h 5"/>
                  <a:gd name="T12" fmla="*/ 5 w 5"/>
                  <a:gd name="T13" fmla="*/ 3 h 5"/>
                  <a:gd name="T14" fmla="*/ 4 w 5"/>
                  <a:gd name="T15" fmla="*/ 4 h 5"/>
                  <a:gd name="T16" fmla="*/ 2 w 5"/>
                  <a:gd name="T17" fmla="*/ 5 h 5"/>
                  <a:gd name="T18" fmla="*/ 2 w 5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1" y="5"/>
                      <a:pt x="0" y="5"/>
                      <a:pt x="0" y="4"/>
                    </a:cubicBezTo>
                    <a:cubicBezTo>
                      <a:pt x="0" y="4"/>
                      <a:pt x="0" y="4"/>
                      <a:pt x="0" y="3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4" y="0"/>
                      <a:pt x="5" y="1"/>
                      <a:pt x="5" y="2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3"/>
                      <a:pt x="5" y="4"/>
                      <a:pt x="4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2" name="Freeform 16"/>
              <p:cNvSpPr>
                <a:spLocks/>
              </p:cNvSpPr>
              <p:nvPr/>
            </p:nvSpPr>
            <p:spPr bwMode="gray">
              <a:xfrm>
                <a:off x="4469" y="2475"/>
                <a:ext cx="12" cy="12"/>
              </a:xfrm>
              <a:custGeom>
                <a:avLst/>
                <a:gdLst>
                  <a:gd name="T0" fmla="*/ 3 w 5"/>
                  <a:gd name="T1" fmla="*/ 5 h 5"/>
                  <a:gd name="T2" fmla="*/ 3 w 5"/>
                  <a:gd name="T3" fmla="*/ 5 h 5"/>
                  <a:gd name="T4" fmla="*/ 1 w 5"/>
                  <a:gd name="T5" fmla="*/ 4 h 5"/>
                  <a:gd name="T6" fmla="*/ 0 w 5"/>
                  <a:gd name="T7" fmla="*/ 3 h 5"/>
                  <a:gd name="T8" fmla="*/ 0 w 5"/>
                  <a:gd name="T9" fmla="*/ 2 h 5"/>
                  <a:gd name="T10" fmla="*/ 2 w 5"/>
                  <a:gd name="T11" fmla="*/ 1 h 5"/>
                  <a:gd name="T12" fmla="*/ 4 w 5"/>
                  <a:gd name="T13" fmla="*/ 2 h 5"/>
                  <a:gd name="T14" fmla="*/ 5 w 5"/>
                  <a:gd name="T15" fmla="*/ 3 h 5"/>
                  <a:gd name="T16" fmla="*/ 5 w 5"/>
                  <a:gd name="T17" fmla="*/ 4 h 5"/>
                  <a:gd name="T18" fmla="*/ 3 w 5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2"/>
                      <a:pt x="5" y="3"/>
                      <a:pt x="5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4" y="5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17"/>
              <p:cNvSpPr>
                <a:spLocks/>
              </p:cNvSpPr>
              <p:nvPr/>
            </p:nvSpPr>
            <p:spPr bwMode="gray">
              <a:xfrm>
                <a:off x="3944" y="2560"/>
                <a:ext cx="14" cy="12"/>
              </a:xfrm>
              <a:custGeom>
                <a:avLst/>
                <a:gdLst>
                  <a:gd name="T0" fmla="*/ 2 w 6"/>
                  <a:gd name="T1" fmla="*/ 5 h 5"/>
                  <a:gd name="T2" fmla="*/ 1 w 6"/>
                  <a:gd name="T3" fmla="*/ 4 h 5"/>
                  <a:gd name="T4" fmla="*/ 0 w 6"/>
                  <a:gd name="T5" fmla="*/ 3 h 5"/>
                  <a:gd name="T6" fmla="*/ 2 w 6"/>
                  <a:gd name="T7" fmla="*/ 1 h 5"/>
                  <a:gd name="T8" fmla="*/ 4 w 6"/>
                  <a:gd name="T9" fmla="*/ 0 h 5"/>
                  <a:gd name="T10" fmla="*/ 6 w 6"/>
                  <a:gd name="T11" fmla="*/ 1 h 5"/>
                  <a:gd name="T12" fmla="*/ 6 w 6"/>
                  <a:gd name="T13" fmla="*/ 2 h 5"/>
                  <a:gd name="T14" fmla="*/ 5 w 6"/>
                  <a:gd name="T15" fmla="*/ 4 h 5"/>
                  <a:gd name="T16" fmla="*/ 3 w 6"/>
                  <a:gd name="T17" fmla="*/ 5 h 5"/>
                  <a:gd name="T18" fmla="*/ 2 w 6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2" y="5"/>
                      <a:pt x="1" y="5"/>
                      <a:pt x="1" y="4"/>
                    </a:cubicBezTo>
                    <a:cubicBezTo>
                      <a:pt x="0" y="4"/>
                      <a:pt x="0" y="3"/>
                      <a:pt x="0" y="3"/>
                    </a:cubicBezTo>
                    <a:cubicBezTo>
                      <a:pt x="0" y="2"/>
                      <a:pt x="1" y="2"/>
                      <a:pt x="2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6" y="1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3"/>
                      <a:pt x="6" y="4"/>
                      <a:pt x="5" y="4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5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18"/>
              <p:cNvSpPr>
                <a:spLocks/>
              </p:cNvSpPr>
              <p:nvPr/>
            </p:nvSpPr>
            <p:spPr bwMode="gray">
              <a:xfrm>
                <a:off x="3982" y="2145"/>
                <a:ext cx="24" cy="16"/>
              </a:xfrm>
              <a:custGeom>
                <a:avLst/>
                <a:gdLst>
                  <a:gd name="T0" fmla="*/ 8 w 10"/>
                  <a:gd name="T1" fmla="*/ 7 h 7"/>
                  <a:gd name="T2" fmla="*/ 7 w 10"/>
                  <a:gd name="T3" fmla="*/ 6 h 7"/>
                  <a:gd name="T4" fmla="*/ 1 w 10"/>
                  <a:gd name="T5" fmla="*/ 4 h 7"/>
                  <a:gd name="T6" fmla="*/ 0 w 10"/>
                  <a:gd name="T7" fmla="*/ 2 h 7"/>
                  <a:gd name="T8" fmla="*/ 0 w 10"/>
                  <a:gd name="T9" fmla="*/ 1 h 7"/>
                  <a:gd name="T10" fmla="*/ 3 w 10"/>
                  <a:gd name="T11" fmla="*/ 0 h 7"/>
                  <a:gd name="T12" fmla="*/ 8 w 10"/>
                  <a:gd name="T13" fmla="*/ 3 h 7"/>
                  <a:gd name="T14" fmla="*/ 10 w 10"/>
                  <a:gd name="T15" fmla="*/ 5 h 7"/>
                  <a:gd name="T16" fmla="*/ 9 w 10"/>
                  <a:gd name="T17" fmla="*/ 5 h 7"/>
                  <a:gd name="T18" fmla="*/ 8 w 10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7">
                    <a:moveTo>
                      <a:pt x="8" y="7"/>
                    </a:moveTo>
                    <a:cubicBezTo>
                      <a:pt x="7" y="7"/>
                      <a:pt x="7" y="7"/>
                      <a:pt x="7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10" y="4"/>
                      <a:pt x="10" y="5"/>
                    </a:cubicBezTo>
                    <a:cubicBezTo>
                      <a:pt x="10" y="5"/>
                      <a:pt x="10" y="5"/>
                      <a:pt x="9" y="5"/>
                    </a:cubicBezTo>
                    <a:cubicBezTo>
                      <a:pt x="9" y="6"/>
                      <a:pt x="8" y="7"/>
                      <a:pt x="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19"/>
              <p:cNvSpPr>
                <a:spLocks/>
              </p:cNvSpPr>
              <p:nvPr/>
            </p:nvSpPr>
            <p:spPr bwMode="gray">
              <a:xfrm>
                <a:off x="3973" y="2135"/>
                <a:ext cx="21" cy="17"/>
              </a:xfrm>
              <a:custGeom>
                <a:avLst/>
                <a:gdLst>
                  <a:gd name="T0" fmla="*/ 1 w 9"/>
                  <a:gd name="T1" fmla="*/ 5 h 7"/>
                  <a:gd name="T2" fmla="*/ 8 w 9"/>
                  <a:gd name="T3" fmla="*/ 1 h 7"/>
                  <a:gd name="T4" fmla="*/ 8 w 9"/>
                  <a:gd name="T5" fmla="*/ 1 h 7"/>
                  <a:gd name="T6" fmla="*/ 8 w 9"/>
                  <a:gd name="T7" fmla="*/ 1 h 7"/>
                  <a:gd name="T8" fmla="*/ 8 w 9"/>
                  <a:gd name="T9" fmla="*/ 1 h 7"/>
                  <a:gd name="T10" fmla="*/ 8 w 9"/>
                  <a:gd name="T11" fmla="*/ 1 h 7"/>
                  <a:gd name="T12" fmla="*/ 8 w 9"/>
                  <a:gd name="T13" fmla="*/ 1 h 7"/>
                  <a:gd name="T14" fmla="*/ 8 w 9"/>
                  <a:gd name="T15" fmla="*/ 1 h 7"/>
                  <a:gd name="T16" fmla="*/ 8 w 9"/>
                  <a:gd name="T17" fmla="*/ 1 h 7"/>
                  <a:gd name="T18" fmla="*/ 9 w 9"/>
                  <a:gd name="T19" fmla="*/ 2 h 7"/>
                  <a:gd name="T20" fmla="*/ 9 w 9"/>
                  <a:gd name="T21" fmla="*/ 3 h 7"/>
                  <a:gd name="T22" fmla="*/ 9 w 9"/>
                  <a:gd name="T23" fmla="*/ 3 h 7"/>
                  <a:gd name="T24" fmla="*/ 9 w 9"/>
                  <a:gd name="T25" fmla="*/ 3 h 7"/>
                  <a:gd name="T26" fmla="*/ 9 w 9"/>
                  <a:gd name="T27" fmla="*/ 3 h 7"/>
                  <a:gd name="T28" fmla="*/ 9 w 9"/>
                  <a:gd name="T29" fmla="*/ 3 h 7"/>
                  <a:gd name="T30" fmla="*/ 9 w 9"/>
                  <a:gd name="T31" fmla="*/ 3 h 7"/>
                  <a:gd name="T32" fmla="*/ 9 w 9"/>
                  <a:gd name="T33" fmla="*/ 3 h 7"/>
                  <a:gd name="T34" fmla="*/ 9 w 9"/>
                  <a:gd name="T35" fmla="*/ 3 h 7"/>
                  <a:gd name="T36" fmla="*/ 9 w 9"/>
                  <a:gd name="T37" fmla="*/ 3 h 7"/>
                  <a:gd name="T38" fmla="*/ 9 w 9"/>
                  <a:gd name="T39" fmla="*/ 3 h 7"/>
                  <a:gd name="T40" fmla="*/ 9 w 9"/>
                  <a:gd name="T41" fmla="*/ 3 h 7"/>
                  <a:gd name="T42" fmla="*/ 9 w 9"/>
                  <a:gd name="T43" fmla="*/ 3 h 7"/>
                  <a:gd name="T44" fmla="*/ 9 w 9"/>
                  <a:gd name="T45" fmla="*/ 3 h 7"/>
                  <a:gd name="T46" fmla="*/ 9 w 9"/>
                  <a:gd name="T47" fmla="*/ 3 h 7"/>
                  <a:gd name="T48" fmla="*/ 9 w 9"/>
                  <a:gd name="T49" fmla="*/ 3 h 7"/>
                  <a:gd name="T50" fmla="*/ 9 w 9"/>
                  <a:gd name="T51" fmla="*/ 3 h 7"/>
                  <a:gd name="T52" fmla="*/ 9 w 9"/>
                  <a:gd name="T53" fmla="*/ 3 h 7"/>
                  <a:gd name="T54" fmla="*/ 8 w 9"/>
                  <a:gd name="T55" fmla="*/ 4 h 7"/>
                  <a:gd name="T56" fmla="*/ 8 w 9"/>
                  <a:gd name="T57" fmla="*/ 4 h 7"/>
                  <a:gd name="T58" fmla="*/ 8 w 9"/>
                  <a:gd name="T59" fmla="*/ 4 h 7"/>
                  <a:gd name="T60" fmla="*/ 8 w 9"/>
                  <a:gd name="T61" fmla="*/ 4 h 7"/>
                  <a:gd name="T62" fmla="*/ 8 w 9"/>
                  <a:gd name="T63" fmla="*/ 4 h 7"/>
                  <a:gd name="T64" fmla="*/ 8 w 9"/>
                  <a:gd name="T65" fmla="*/ 4 h 7"/>
                  <a:gd name="T66" fmla="*/ 8 w 9"/>
                  <a:gd name="T67" fmla="*/ 4 h 7"/>
                  <a:gd name="T68" fmla="*/ 8 w 9"/>
                  <a:gd name="T69" fmla="*/ 4 h 7"/>
                  <a:gd name="T70" fmla="*/ 8 w 9"/>
                  <a:gd name="T71" fmla="*/ 4 h 7"/>
                  <a:gd name="T72" fmla="*/ 8 w 9"/>
                  <a:gd name="T73" fmla="*/ 4 h 7"/>
                  <a:gd name="T74" fmla="*/ 8 w 9"/>
                  <a:gd name="T75" fmla="*/ 4 h 7"/>
                  <a:gd name="T76" fmla="*/ 8 w 9"/>
                  <a:gd name="T77" fmla="*/ 4 h 7"/>
                  <a:gd name="T78" fmla="*/ 8 w 9"/>
                  <a:gd name="T79" fmla="*/ 4 h 7"/>
                  <a:gd name="T80" fmla="*/ 8 w 9"/>
                  <a:gd name="T81" fmla="*/ 4 h 7"/>
                  <a:gd name="T82" fmla="*/ 8 w 9"/>
                  <a:gd name="T83" fmla="*/ 4 h 7"/>
                  <a:gd name="T84" fmla="*/ 8 w 9"/>
                  <a:gd name="T85" fmla="*/ 4 h 7"/>
                  <a:gd name="T86" fmla="*/ 8 w 9"/>
                  <a:gd name="T87" fmla="*/ 4 h 7"/>
                  <a:gd name="T88" fmla="*/ 8 w 9"/>
                  <a:gd name="T89" fmla="*/ 4 h 7"/>
                  <a:gd name="T90" fmla="*/ 8 w 9"/>
                  <a:gd name="T91" fmla="*/ 4 h 7"/>
                  <a:gd name="T92" fmla="*/ 8 w 9"/>
                  <a:gd name="T93" fmla="*/ 4 h 7"/>
                  <a:gd name="T94" fmla="*/ 8 w 9"/>
                  <a:gd name="T95" fmla="*/ 4 h 7"/>
                  <a:gd name="T96" fmla="*/ 8 w 9"/>
                  <a:gd name="T97" fmla="*/ 4 h 7"/>
                  <a:gd name="T98" fmla="*/ 3 w 9"/>
                  <a:gd name="T99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cubicBezTo>
                      <a:pt x="2" y="7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5"/>
                    </a:cubicBezTo>
                    <a:cubicBezTo>
                      <a:pt x="0" y="4"/>
                      <a:pt x="1" y="3"/>
                      <a:pt x="2" y="3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1"/>
                      <a:pt x="9" y="1"/>
                      <a:pt x="9" y="2"/>
                    </a:cubicBezTo>
                    <a:cubicBezTo>
                      <a:pt x="9" y="2"/>
                      <a:pt x="9" y="2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20"/>
              <p:cNvSpPr>
                <a:spLocks/>
              </p:cNvSpPr>
              <p:nvPr/>
            </p:nvSpPr>
            <p:spPr bwMode="gray">
              <a:xfrm>
                <a:off x="3424" y="2083"/>
                <a:ext cx="9" cy="12"/>
              </a:xfrm>
              <a:custGeom>
                <a:avLst/>
                <a:gdLst>
                  <a:gd name="T0" fmla="*/ 2 w 4"/>
                  <a:gd name="T1" fmla="*/ 5 h 5"/>
                  <a:gd name="T2" fmla="*/ 0 w 4"/>
                  <a:gd name="T3" fmla="*/ 3 h 5"/>
                  <a:gd name="T4" fmla="*/ 0 w 4"/>
                  <a:gd name="T5" fmla="*/ 3 h 5"/>
                  <a:gd name="T6" fmla="*/ 1 w 4"/>
                  <a:gd name="T7" fmla="*/ 1 h 5"/>
                  <a:gd name="T8" fmla="*/ 4 w 4"/>
                  <a:gd name="T9" fmla="*/ 2 h 5"/>
                  <a:gd name="T10" fmla="*/ 4 w 4"/>
                  <a:gd name="T11" fmla="*/ 3 h 5"/>
                  <a:gd name="T12" fmla="*/ 3 w 4"/>
                  <a:gd name="T13" fmla="*/ 4 h 5"/>
                  <a:gd name="T14" fmla="*/ 3 w 4"/>
                  <a:gd name="T15" fmla="*/ 4 h 5"/>
                  <a:gd name="T16" fmla="*/ 2 w 4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1" y="5"/>
                      <a:pt x="1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4" y="1"/>
                      <a:pt x="4" y="2"/>
                    </a:cubicBezTo>
                    <a:cubicBezTo>
                      <a:pt x="4" y="2"/>
                      <a:pt x="4" y="2"/>
                      <a:pt x="4" y="3"/>
                    </a:cubicBezTo>
                    <a:cubicBezTo>
                      <a:pt x="4" y="3"/>
                      <a:pt x="4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3" y="5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21"/>
              <p:cNvSpPr>
                <a:spLocks noEditPoints="1"/>
              </p:cNvSpPr>
              <p:nvPr/>
            </p:nvSpPr>
            <p:spPr bwMode="gray">
              <a:xfrm>
                <a:off x="3424" y="2107"/>
                <a:ext cx="534" cy="418"/>
              </a:xfrm>
              <a:custGeom>
                <a:avLst/>
                <a:gdLst>
                  <a:gd name="T0" fmla="*/ 223 w 225"/>
                  <a:gd name="T1" fmla="*/ 175 h 176"/>
                  <a:gd name="T2" fmla="*/ 163 w 225"/>
                  <a:gd name="T3" fmla="*/ 147 h 176"/>
                  <a:gd name="T4" fmla="*/ 152 w 225"/>
                  <a:gd name="T5" fmla="*/ 142 h 176"/>
                  <a:gd name="T6" fmla="*/ 151 w 225"/>
                  <a:gd name="T7" fmla="*/ 139 h 176"/>
                  <a:gd name="T8" fmla="*/ 144 w 225"/>
                  <a:gd name="T9" fmla="*/ 77 h 176"/>
                  <a:gd name="T10" fmla="*/ 91 w 225"/>
                  <a:gd name="T11" fmla="*/ 53 h 176"/>
                  <a:gd name="T12" fmla="*/ 84 w 225"/>
                  <a:gd name="T13" fmla="*/ 50 h 176"/>
                  <a:gd name="T14" fmla="*/ 73 w 225"/>
                  <a:gd name="T15" fmla="*/ 105 h 176"/>
                  <a:gd name="T16" fmla="*/ 70 w 225"/>
                  <a:gd name="T17" fmla="*/ 107 h 176"/>
                  <a:gd name="T18" fmla="*/ 0 w 225"/>
                  <a:gd name="T19" fmla="*/ 74 h 176"/>
                  <a:gd name="T20" fmla="*/ 1 w 225"/>
                  <a:gd name="T21" fmla="*/ 0 h 176"/>
                  <a:gd name="T22" fmla="*/ 224 w 225"/>
                  <a:gd name="T23" fmla="*/ 99 h 176"/>
                  <a:gd name="T24" fmla="*/ 225 w 225"/>
                  <a:gd name="T25" fmla="*/ 108 h 176"/>
                  <a:gd name="T26" fmla="*/ 218 w 225"/>
                  <a:gd name="T27" fmla="*/ 113 h 176"/>
                  <a:gd name="T28" fmla="*/ 217 w 225"/>
                  <a:gd name="T29" fmla="*/ 115 h 176"/>
                  <a:gd name="T30" fmla="*/ 203 w 225"/>
                  <a:gd name="T31" fmla="*/ 108 h 176"/>
                  <a:gd name="T32" fmla="*/ 192 w 225"/>
                  <a:gd name="T33" fmla="*/ 137 h 176"/>
                  <a:gd name="T34" fmla="*/ 215 w 225"/>
                  <a:gd name="T35" fmla="*/ 121 h 176"/>
                  <a:gd name="T36" fmla="*/ 218 w 225"/>
                  <a:gd name="T37" fmla="*/ 120 h 176"/>
                  <a:gd name="T38" fmla="*/ 225 w 225"/>
                  <a:gd name="T39" fmla="*/ 124 h 176"/>
                  <a:gd name="T40" fmla="*/ 224 w 225"/>
                  <a:gd name="T41" fmla="*/ 175 h 176"/>
                  <a:gd name="T42" fmla="*/ 167 w 225"/>
                  <a:gd name="T43" fmla="*/ 146 h 176"/>
                  <a:gd name="T44" fmla="*/ 221 w 225"/>
                  <a:gd name="T45" fmla="*/ 125 h 176"/>
                  <a:gd name="T46" fmla="*/ 219 w 225"/>
                  <a:gd name="T47" fmla="*/ 151 h 176"/>
                  <a:gd name="T48" fmla="*/ 216 w 225"/>
                  <a:gd name="T49" fmla="*/ 153 h 176"/>
                  <a:gd name="T50" fmla="*/ 188 w 225"/>
                  <a:gd name="T51" fmla="*/ 138 h 176"/>
                  <a:gd name="T52" fmla="*/ 188 w 225"/>
                  <a:gd name="T53" fmla="*/ 100 h 176"/>
                  <a:gd name="T54" fmla="*/ 204 w 225"/>
                  <a:gd name="T55" fmla="*/ 105 h 176"/>
                  <a:gd name="T56" fmla="*/ 215 w 225"/>
                  <a:gd name="T57" fmla="*/ 110 h 176"/>
                  <a:gd name="T58" fmla="*/ 221 w 225"/>
                  <a:gd name="T59" fmla="*/ 102 h 176"/>
                  <a:gd name="T60" fmla="*/ 4 w 225"/>
                  <a:gd name="T61" fmla="*/ 73 h 176"/>
                  <a:gd name="T62" fmla="*/ 69 w 225"/>
                  <a:gd name="T63" fmla="*/ 54 h 176"/>
                  <a:gd name="T64" fmla="*/ 83 w 225"/>
                  <a:gd name="T65" fmla="*/ 46 h 176"/>
                  <a:gd name="T66" fmla="*/ 92 w 225"/>
                  <a:gd name="T67" fmla="*/ 49 h 176"/>
                  <a:gd name="T68" fmla="*/ 146 w 225"/>
                  <a:gd name="T69" fmla="*/ 73 h 176"/>
                  <a:gd name="T70" fmla="*/ 155 w 225"/>
                  <a:gd name="T71" fmla="*/ 78 h 176"/>
                  <a:gd name="T72" fmla="*/ 166 w 225"/>
                  <a:gd name="T73" fmla="*/ 144 h 176"/>
                  <a:gd name="T74" fmla="*/ 167 w 225"/>
                  <a:gd name="T75" fmla="*/ 146 h 176"/>
                  <a:gd name="T76" fmla="*/ 50 w 225"/>
                  <a:gd name="T77" fmla="*/ 78 h 176"/>
                  <a:gd name="T78" fmla="*/ 22 w 225"/>
                  <a:gd name="T79" fmla="*/ 64 h 176"/>
                  <a:gd name="T80" fmla="*/ 22 w 225"/>
                  <a:gd name="T81" fmla="*/ 26 h 176"/>
                  <a:gd name="T82" fmla="*/ 38 w 225"/>
                  <a:gd name="T83" fmla="*/ 30 h 176"/>
                  <a:gd name="T84" fmla="*/ 53 w 225"/>
                  <a:gd name="T85" fmla="*/ 40 h 176"/>
                  <a:gd name="T86" fmla="*/ 52 w 225"/>
                  <a:gd name="T87" fmla="*/ 78 h 176"/>
                  <a:gd name="T88" fmla="*/ 26 w 225"/>
                  <a:gd name="T89" fmla="*/ 62 h 176"/>
                  <a:gd name="T90" fmla="*/ 49 w 225"/>
                  <a:gd name="T91" fmla="*/ 41 h 176"/>
                  <a:gd name="T92" fmla="*/ 26 w 225"/>
                  <a:gd name="T93" fmla="*/ 3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5" h="176">
                    <a:moveTo>
                      <a:pt x="223" y="176"/>
                    </a:moveTo>
                    <a:cubicBezTo>
                      <a:pt x="223" y="176"/>
                      <a:pt x="223" y="176"/>
                      <a:pt x="223" y="175"/>
                    </a:cubicBezTo>
                    <a:cubicBezTo>
                      <a:pt x="164" y="149"/>
                      <a:pt x="164" y="149"/>
                      <a:pt x="164" y="149"/>
                    </a:cubicBezTo>
                    <a:cubicBezTo>
                      <a:pt x="164" y="149"/>
                      <a:pt x="163" y="148"/>
                      <a:pt x="163" y="147"/>
                    </a:cubicBezTo>
                    <a:cubicBezTo>
                      <a:pt x="163" y="147"/>
                      <a:pt x="163" y="147"/>
                      <a:pt x="163" y="147"/>
                    </a:cubicBezTo>
                    <a:cubicBezTo>
                      <a:pt x="152" y="142"/>
                      <a:pt x="152" y="142"/>
                      <a:pt x="152" y="142"/>
                    </a:cubicBezTo>
                    <a:cubicBezTo>
                      <a:pt x="151" y="141"/>
                      <a:pt x="150" y="140"/>
                      <a:pt x="150" y="140"/>
                    </a:cubicBezTo>
                    <a:cubicBezTo>
                      <a:pt x="150" y="139"/>
                      <a:pt x="151" y="139"/>
                      <a:pt x="151" y="139"/>
                    </a:cubicBezTo>
                    <a:cubicBezTo>
                      <a:pt x="151" y="80"/>
                      <a:pt x="151" y="80"/>
                      <a:pt x="151" y="80"/>
                    </a:cubicBezTo>
                    <a:cubicBezTo>
                      <a:pt x="144" y="77"/>
                      <a:pt x="144" y="77"/>
                      <a:pt x="144" y="77"/>
                    </a:cubicBezTo>
                    <a:cubicBezTo>
                      <a:pt x="136" y="71"/>
                      <a:pt x="127" y="66"/>
                      <a:pt x="117" y="62"/>
                    </a:cubicBezTo>
                    <a:cubicBezTo>
                      <a:pt x="108" y="58"/>
                      <a:pt x="99" y="55"/>
                      <a:pt x="91" y="53"/>
                    </a:cubicBezTo>
                    <a:cubicBezTo>
                      <a:pt x="91" y="53"/>
                      <a:pt x="91" y="53"/>
                      <a:pt x="91" y="53"/>
                    </a:cubicBezTo>
                    <a:cubicBezTo>
                      <a:pt x="84" y="50"/>
                      <a:pt x="84" y="50"/>
                      <a:pt x="84" y="50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73" y="105"/>
                      <a:pt x="73" y="105"/>
                      <a:pt x="73" y="105"/>
                    </a:cubicBezTo>
                    <a:cubicBezTo>
                      <a:pt x="73" y="106"/>
                      <a:pt x="72" y="106"/>
                      <a:pt x="72" y="107"/>
                    </a:cubicBezTo>
                    <a:cubicBezTo>
                      <a:pt x="71" y="107"/>
                      <a:pt x="70" y="107"/>
                      <a:pt x="70" y="107"/>
                    </a:cubicBezTo>
                    <a:cubicBezTo>
                      <a:pt x="1" y="76"/>
                      <a:pt x="1" y="76"/>
                      <a:pt x="1" y="76"/>
                    </a:cubicBezTo>
                    <a:cubicBezTo>
                      <a:pt x="1" y="76"/>
                      <a:pt x="0" y="75"/>
                      <a:pt x="0" y="7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224" y="99"/>
                      <a:pt x="224" y="99"/>
                      <a:pt x="224" y="99"/>
                    </a:cubicBezTo>
                    <a:cubicBezTo>
                      <a:pt x="225" y="100"/>
                      <a:pt x="225" y="100"/>
                      <a:pt x="225" y="101"/>
                    </a:cubicBezTo>
                    <a:cubicBezTo>
                      <a:pt x="225" y="108"/>
                      <a:pt x="225" y="108"/>
                      <a:pt x="225" y="108"/>
                    </a:cubicBezTo>
                    <a:cubicBezTo>
                      <a:pt x="225" y="109"/>
                      <a:pt x="225" y="109"/>
                      <a:pt x="224" y="110"/>
                    </a:cubicBezTo>
                    <a:cubicBezTo>
                      <a:pt x="218" y="113"/>
                      <a:pt x="218" y="113"/>
                      <a:pt x="218" y="113"/>
                    </a:cubicBezTo>
                    <a:cubicBezTo>
                      <a:pt x="218" y="113"/>
                      <a:pt x="218" y="113"/>
                      <a:pt x="218" y="113"/>
                    </a:cubicBezTo>
                    <a:cubicBezTo>
                      <a:pt x="218" y="114"/>
                      <a:pt x="217" y="115"/>
                      <a:pt x="217" y="115"/>
                    </a:cubicBezTo>
                    <a:cubicBezTo>
                      <a:pt x="216" y="115"/>
                      <a:pt x="215" y="115"/>
                      <a:pt x="214" y="115"/>
                    </a:cubicBezTo>
                    <a:cubicBezTo>
                      <a:pt x="211" y="112"/>
                      <a:pt x="207" y="110"/>
                      <a:pt x="203" y="108"/>
                    </a:cubicBezTo>
                    <a:cubicBezTo>
                      <a:pt x="199" y="107"/>
                      <a:pt x="195" y="105"/>
                      <a:pt x="192" y="104"/>
                    </a:cubicBezTo>
                    <a:cubicBezTo>
                      <a:pt x="192" y="137"/>
                      <a:pt x="192" y="137"/>
                      <a:pt x="192" y="137"/>
                    </a:cubicBezTo>
                    <a:cubicBezTo>
                      <a:pt x="215" y="148"/>
                      <a:pt x="215" y="148"/>
                      <a:pt x="215" y="148"/>
                    </a:cubicBezTo>
                    <a:cubicBezTo>
                      <a:pt x="215" y="121"/>
                      <a:pt x="215" y="121"/>
                      <a:pt x="215" y="121"/>
                    </a:cubicBezTo>
                    <a:cubicBezTo>
                      <a:pt x="215" y="121"/>
                      <a:pt x="216" y="120"/>
                      <a:pt x="216" y="120"/>
                    </a:cubicBezTo>
                    <a:cubicBezTo>
                      <a:pt x="217" y="119"/>
                      <a:pt x="217" y="119"/>
                      <a:pt x="218" y="120"/>
                    </a:cubicBezTo>
                    <a:cubicBezTo>
                      <a:pt x="224" y="122"/>
                      <a:pt x="224" y="122"/>
                      <a:pt x="224" y="122"/>
                    </a:cubicBezTo>
                    <a:cubicBezTo>
                      <a:pt x="225" y="123"/>
                      <a:pt x="225" y="123"/>
                      <a:pt x="225" y="124"/>
                    </a:cubicBezTo>
                    <a:cubicBezTo>
                      <a:pt x="225" y="174"/>
                      <a:pt x="225" y="174"/>
                      <a:pt x="225" y="174"/>
                    </a:cubicBezTo>
                    <a:cubicBezTo>
                      <a:pt x="225" y="174"/>
                      <a:pt x="225" y="175"/>
                      <a:pt x="224" y="175"/>
                    </a:cubicBezTo>
                    <a:cubicBezTo>
                      <a:pt x="224" y="175"/>
                      <a:pt x="224" y="176"/>
                      <a:pt x="223" y="176"/>
                    </a:cubicBezTo>
                    <a:close/>
                    <a:moveTo>
                      <a:pt x="167" y="146"/>
                    </a:moveTo>
                    <a:cubicBezTo>
                      <a:pt x="221" y="170"/>
                      <a:pt x="221" y="170"/>
                      <a:pt x="221" y="170"/>
                    </a:cubicBezTo>
                    <a:cubicBezTo>
                      <a:pt x="221" y="125"/>
                      <a:pt x="221" y="125"/>
                      <a:pt x="221" y="125"/>
                    </a:cubicBezTo>
                    <a:cubicBezTo>
                      <a:pt x="219" y="124"/>
                      <a:pt x="219" y="124"/>
                      <a:pt x="219" y="124"/>
                    </a:cubicBezTo>
                    <a:cubicBezTo>
                      <a:pt x="219" y="151"/>
                      <a:pt x="219" y="151"/>
                      <a:pt x="219" y="151"/>
                    </a:cubicBezTo>
                    <a:cubicBezTo>
                      <a:pt x="219" y="151"/>
                      <a:pt x="219" y="152"/>
                      <a:pt x="218" y="152"/>
                    </a:cubicBezTo>
                    <a:cubicBezTo>
                      <a:pt x="218" y="153"/>
                      <a:pt x="217" y="153"/>
                      <a:pt x="216" y="153"/>
                    </a:cubicBezTo>
                    <a:cubicBezTo>
                      <a:pt x="189" y="140"/>
                      <a:pt x="189" y="140"/>
                      <a:pt x="189" y="140"/>
                    </a:cubicBezTo>
                    <a:cubicBezTo>
                      <a:pt x="188" y="140"/>
                      <a:pt x="188" y="139"/>
                      <a:pt x="188" y="138"/>
                    </a:cubicBezTo>
                    <a:cubicBezTo>
                      <a:pt x="188" y="102"/>
                      <a:pt x="188" y="102"/>
                      <a:pt x="188" y="102"/>
                    </a:cubicBezTo>
                    <a:cubicBezTo>
                      <a:pt x="188" y="101"/>
                      <a:pt x="188" y="101"/>
                      <a:pt x="188" y="100"/>
                    </a:cubicBezTo>
                    <a:cubicBezTo>
                      <a:pt x="189" y="100"/>
                      <a:pt x="189" y="100"/>
                      <a:pt x="190" y="100"/>
                    </a:cubicBezTo>
                    <a:cubicBezTo>
                      <a:pt x="194" y="101"/>
                      <a:pt x="199" y="102"/>
                      <a:pt x="204" y="105"/>
                    </a:cubicBezTo>
                    <a:cubicBezTo>
                      <a:pt x="208" y="106"/>
                      <a:pt x="211" y="108"/>
                      <a:pt x="214" y="110"/>
                    </a:cubicBezTo>
                    <a:cubicBezTo>
                      <a:pt x="214" y="110"/>
                      <a:pt x="215" y="110"/>
                      <a:pt x="215" y="110"/>
                    </a:cubicBezTo>
                    <a:cubicBezTo>
                      <a:pt x="221" y="107"/>
                      <a:pt x="221" y="107"/>
                      <a:pt x="221" y="107"/>
                    </a:cubicBezTo>
                    <a:cubicBezTo>
                      <a:pt x="221" y="102"/>
                      <a:pt x="221" y="102"/>
                      <a:pt x="221" y="102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54"/>
                      <a:pt x="69" y="54"/>
                      <a:pt x="69" y="54"/>
                    </a:cubicBezTo>
                    <a:cubicBezTo>
                      <a:pt x="69" y="53"/>
                      <a:pt x="69" y="52"/>
                      <a:pt x="70" y="52"/>
                    </a:cubicBezTo>
                    <a:cubicBezTo>
                      <a:pt x="83" y="46"/>
                      <a:pt x="83" y="46"/>
                      <a:pt x="83" y="46"/>
                    </a:cubicBezTo>
                    <a:cubicBezTo>
                      <a:pt x="84" y="45"/>
                      <a:pt x="84" y="45"/>
                      <a:pt x="85" y="46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100" y="51"/>
                      <a:pt x="110" y="54"/>
                      <a:pt x="119" y="58"/>
                    </a:cubicBezTo>
                    <a:cubicBezTo>
                      <a:pt x="129" y="62"/>
                      <a:pt x="138" y="68"/>
                      <a:pt x="146" y="73"/>
                    </a:cubicBezTo>
                    <a:cubicBezTo>
                      <a:pt x="153" y="77"/>
                      <a:pt x="153" y="77"/>
                      <a:pt x="153" y="77"/>
                    </a:cubicBezTo>
                    <a:cubicBezTo>
                      <a:pt x="154" y="77"/>
                      <a:pt x="155" y="78"/>
                      <a:pt x="155" y="78"/>
                    </a:cubicBezTo>
                    <a:cubicBezTo>
                      <a:pt x="155" y="139"/>
                      <a:pt x="155" y="139"/>
                      <a:pt x="155" y="139"/>
                    </a:cubicBezTo>
                    <a:cubicBezTo>
                      <a:pt x="166" y="144"/>
                      <a:pt x="166" y="144"/>
                      <a:pt x="166" y="144"/>
                    </a:cubicBezTo>
                    <a:cubicBezTo>
                      <a:pt x="167" y="144"/>
                      <a:pt x="167" y="145"/>
                      <a:pt x="167" y="145"/>
                    </a:cubicBezTo>
                    <a:lnTo>
                      <a:pt x="167" y="146"/>
                    </a:lnTo>
                    <a:close/>
                    <a:moveTo>
                      <a:pt x="51" y="78"/>
                    </a:moveTo>
                    <a:cubicBezTo>
                      <a:pt x="51" y="78"/>
                      <a:pt x="51" y="78"/>
                      <a:pt x="50" y="78"/>
                    </a:cubicBezTo>
                    <a:cubicBezTo>
                      <a:pt x="23" y="66"/>
                      <a:pt x="23" y="66"/>
                      <a:pt x="23" y="66"/>
                    </a:cubicBezTo>
                    <a:cubicBezTo>
                      <a:pt x="22" y="65"/>
                      <a:pt x="22" y="65"/>
                      <a:pt x="22" y="64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2" y="27"/>
                      <a:pt x="22" y="26"/>
                      <a:pt x="22" y="26"/>
                    </a:cubicBezTo>
                    <a:cubicBezTo>
                      <a:pt x="23" y="25"/>
                      <a:pt x="23" y="25"/>
                      <a:pt x="24" y="25"/>
                    </a:cubicBezTo>
                    <a:cubicBezTo>
                      <a:pt x="28" y="26"/>
                      <a:pt x="33" y="28"/>
                      <a:pt x="38" y="30"/>
                    </a:cubicBezTo>
                    <a:cubicBezTo>
                      <a:pt x="43" y="32"/>
                      <a:pt x="48" y="35"/>
                      <a:pt x="52" y="38"/>
                    </a:cubicBezTo>
                    <a:cubicBezTo>
                      <a:pt x="53" y="38"/>
                      <a:pt x="53" y="39"/>
                      <a:pt x="53" y="40"/>
                    </a:cubicBezTo>
                    <a:cubicBezTo>
                      <a:pt x="53" y="76"/>
                      <a:pt x="53" y="76"/>
                      <a:pt x="53" y="76"/>
                    </a:cubicBezTo>
                    <a:cubicBezTo>
                      <a:pt x="53" y="77"/>
                      <a:pt x="53" y="77"/>
                      <a:pt x="52" y="78"/>
                    </a:cubicBezTo>
                    <a:cubicBezTo>
                      <a:pt x="52" y="78"/>
                      <a:pt x="52" y="78"/>
                      <a:pt x="51" y="78"/>
                    </a:cubicBezTo>
                    <a:close/>
                    <a:moveTo>
                      <a:pt x="26" y="62"/>
                    </a:moveTo>
                    <a:cubicBezTo>
                      <a:pt x="49" y="73"/>
                      <a:pt x="49" y="73"/>
                      <a:pt x="49" y="73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5" y="38"/>
                      <a:pt x="41" y="36"/>
                      <a:pt x="37" y="34"/>
                    </a:cubicBezTo>
                    <a:cubicBezTo>
                      <a:pt x="33" y="32"/>
                      <a:pt x="29" y="31"/>
                      <a:pt x="26" y="30"/>
                    </a:cubicBezTo>
                    <a:lnTo>
                      <a:pt x="26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22"/>
              <p:cNvSpPr>
                <a:spLocks noEditPoints="1"/>
              </p:cNvSpPr>
              <p:nvPr/>
            </p:nvSpPr>
            <p:spPr bwMode="gray">
              <a:xfrm>
                <a:off x="3424" y="1893"/>
                <a:ext cx="544" cy="427"/>
              </a:xfrm>
              <a:custGeom>
                <a:avLst/>
                <a:gdLst>
                  <a:gd name="T0" fmla="*/ 223 w 229"/>
                  <a:gd name="T1" fmla="*/ 180 h 180"/>
                  <a:gd name="T2" fmla="*/ 27 w 229"/>
                  <a:gd name="T3" fmla="*/ 92 h 180"/>
                  <a:gd name="T4" fmla="*/ 0 w 229"/>
                  <a:gd name="T5" fmla="*/ 79 h 180"/>
                  <a:gd name="T6" fmla="*/ 1 w 229"/>
                  <a:gd name="T7" fmla="*/ 0 h 180"/>
                  <a:gd name="T8" fmla="*/ 63 w 229"/>
                  <a:gd name="T9" fmla="*/ 32 h 180"/>
                  <a:gd name="T10" fmla="*/ 180 w 229"/>
                  <a:gd name="T11" fmla="*/ 85 h 180"/>
                  <a:gd name="T12" fmla="*/ 229 w 229"/>
                  <a:gd name="T13" fmla="*/ 102 h 180"/>
                  <a:gd name="T14" fmla="*/ 226 w 229"/>
                  <a:gd name="T15" fmla="*/ 105 h 180"/>
                  <a:gd name="T16" fmla="*/ 220 w 229"/>
                  <a:gd name="T17" fmla="*/ 108 h 180"/>
                  <a:gd name="T18" fmla="*/ 224 w 229"/>
                  <a:gd name="T19" fmla="*/ 119 h 180"/>
                  <a:gd name="T20" fmla="*/ 225 w 229"/>
                  <a:gd name="T21" fmla="*/ 178 h 180"/>
                  <a:gd name="T22" fmla="*/ 223 w 229"/>
                  <a:gd name="T23" fmla="*/ 180 h 180"/>
                  <a:gd name="T24" fmla="*/ 221 w 229"/>
                  <a:gd name="T25" fmla="*/ 175 h 180"/>
                  <a:gd name="T26" fmla="*/ 219 w 229"/>
                  <a:gd name="T27" fmla="*/ 121 h 180"/>
                  <a:gd name="T28" fmla="*/ 218 w 229"/>
                  <a:gd name="T29" fmla="*/ 157 h 180"/>
                  <a:gd name="T30" fmla="*/ 189 w 229"/>
                  <a:gd name="T31" fmla="*/ 145 h 180"/>
                  <a:gd name="T32" fmla="*/ 188 w 229"/>
                  <a:gd name="T33" fmla="*/ 107 h 180"/>
                  <a:gd name="T34" fmla="*/ 190 w 229"/>
                  <a:gd name="T35" fmla="*/ 105 h 180"/>
                  <a:gd name="T36" fmla="*/ 216 w 229"/>
                  <a:gd name="T37" fmla="*/ 115 h 180"/>
                  <a:gd name="T38" fmla="*/ 217 w 229"/>
                  <a:gd name="T39" fmla="*/ 105 h 180"/>
                  <a:gd name="T40" fmla="*/ 179 w 229"/>
                  <a:gd name="T41" fmla="*/ 89 h 180"/>
                  <a:gd name="T42" fmla="*/ 60 w 229"/>
                  <a:gd name="T43" fmla="*/ 35 h 180"/>
                  <a:gd name="T44" fmla="*/ 4 w 229"/>
                  <a:gd name="T45" fmla="*/ 78 h 180"/>
                  <a:gd name="T46" fmla="*/ 30 w 229"/>
                  <a:gd name="T47" fmla="*/ 89 h 180"/>
                  <a:gd name="T48" fmla="*/ 215 w 229"/>
                  <a:gd name="T49" fmla="*/ 152 h 180"/>
                  <a:gd name="T50" fmla="*/ 203 w 229"/>
                  <a:gd name="T51" fmla="*/ 113 h 180"/>
                  <a:gd name="T52" fmla="*/ 192 w 229"/>
                  <a:gd name="T53" fmla="*/ 142 h 180"/>
                  <a:gd name="T54" fmla="*/ 161 w 229"/>
                  <a:gd name="T55" fmla="*/ 132 h 180"/>
                  <a:gd name="T56" fmla="*/ 132 w 229"/>
                  <a:gd name="T57" fmla="*/ 118 h 180"/>
                  <a:gd name="T58" fmla="*/ 133 w 229"/>
                  <a:gd name="T59" fmla="*/ 80 h 180"/>
                  <a:gd name="T60" fmla="*/ 149 w 229"/>
                  <a:gd name="T61" fmla="*/ 84 h 180"/>
                  <a:gd name="T62" fmla="*/ 164 w 229"/>
                  <a:gd name="T63" fmla="*/ 94 h 180"/>
                  <a:gd name="T64" fmla="*/ 163 w 229"/>
                  <a:gd name="T65" fmla="*/ 132 h 180"/>
                  <a:gd name="T66" fmla="*/ 136 w 229"/>
                  <a:gd name="T67" fmla="*/ 117 h 180"/>
                  <a:gd name="T68" fmla="*/ 160 w 229"/>
                  <a:gd name="T69" fmla="*/ 95 h 180"/>
                  <a:gd name="T70" fmla="*/ 136 w 229"/>
                  <a:gd name="T71" fmla="*/ 84 h 180"/>
                  <a:gd name="T72" fmla="*/ 107 w 229"/>
                  <a:gd name="T73" fmla="*/ 108 h 180"/>
                  <a:gd name="T74" fmla="*/ 78 w 229"/>
                  <a:gd name="T75" fmla="*/ 95 h 180"/>
                  <a:gd name="T76" fmla="*/ 77 w 229"/>
                  <a:gd name="T77" fmla="*/ 57 h 180"/>
                  <a:gd name="T78" fmla="*/ 79 w 229"/>
                  <a:gd name="T79" fmla="*/ 55 h 180"/>
                  <a:gd name="T80" fmla="*/ 108 w 229"/>
                  <a:gd name="T81" fmla="*/ 68 h 180"/>
                  <a:gd name="T82" fmla="*/ 109 w 229"/>
                  <a:gd name="T83" fmla="*/ 106 h 180"/>
                  <a:gd name="T84" fmla="*/ 107 w 229"/>
                  <a:gd name="T85" fmla="*/ 108 h 180"/>
                  <a:gd name="T86" fmla="*/ 105 w 229"/>
                  <a:gd name="T87" fmla="*/ 103 h 180"/>
                  <a:gd name="T88" fmla="*/ 92 w 229"/>
                  <a:gd name="T89" fmla="*/ 63 h 180"/>
                  <a:gd name="T90" fmla="*/ 81 w 229"/>
                  <a:gd name="T91" fmla="*/ 92 h 180"/>
                  <a:gd name="T92" fmla="*/ 51 w 229"/>
                  <a:gd name="T93" fmla="*/ 83 h 180"/>
                  <a:gd name="T94" fmla="*/ 22 w 229"/>
                  <a:gd name="T95" fmla="*/ 68 h 180"/>
                  <a:gd name="T96" fmla="*/ 23 w 229"/>
                  <a:gd name="T97" fmla="*/ 30 h 180"/>
                  <a:gd name="T98" fmla="*/ 39 w 229"/>
                  <a:gd name="T99" fmla="*/ 35 h 180"/>
                  <a:gd name="T100" fmla="*/ 54 w 229"/>
                  <a:gd name="T101" fmla="*/ 44 h 180"/>
                  <a:gd name="T102" fmla="*/ 53 w 229"/>
                  <a:gd name="T103" fmla="*/ 82 h 180"/>
                  <a:gd name="T104" fmla="*/ 26 w 229"/>
                  <a:gd name="T105" fmla="*/ 67 h 180"/>
                  <a:gd name="T106" fmla="*/ 50 w 229"/>
                  <a:gd name="T107" fmla="*/ 45 h 180"/>
                  <a:gd name="T108" fmla="*/ 26 w 229"/>
                  <a:gd name="T109" fmla="*/ 34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29" h="180">
                    <a:moveTo>
                      <a:pt x="223" y="180"/>
                    </a:moveTo>
                    <a:cubicBezTo>
                      <a:pt x="223" y="180"/>
                      <a:pt x="223" y="180"/>
                      <a:pt x="223" y="180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1" y="80"/>
                      <a:pt x="0" y="80"/>
                      <a:pt x="0" y="7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21" y="5"/>
                      <a:pt x="41" y="18"/>
                      <a:pt x="63" y="32"/>
                    </a:cubicBezTo>
                    <a:cubicBezTo>
                      <a:pt x="81" y="44"/>
                      <a:pt x="100" y="56"/>
                      <a:pt x="120" y="65"/>
                    </a:cubicBezTo>
                    <a:cubicBezTo>
                      <a:pt x="141" y="74"/>
                      <a:pt x="161" y="80"/>
                      <a:pt x="180" y="85"/>
                    </a:cubicBezTo>
                    <a:cubicBezTo>
                      <a:pt x="197" y="90"/>
                      <a:pt x="213" y="94"/>
                      <a:pt x="228" y="100"/>
                    </a:cubicBezTo>
                    <a:cubicBezTo>
                      <a:pt x="228" y="101"/>
                      <a:pt x="229" y="102"/>
                      <a:pt x="229" y="102"/>
                    </a:cubicBezTo>
                    <a:cubicBezTo>
                      <a:pt x="229" y="103"/>
                      <a:pt x="228" y="104"/>
                      <a:pt x="228" y="104"/>
                    </a:cubicBezTo>
                    <a:cubicBezTo>
                      <a:pt x="226" y="105"/>
                      <a:pt x="226" y="105"/>
                      <a:pt x="226" y="105"/>
                    </a:cubicBezTo>
                    <a:cubicBezTo>
                      <a:pt x="226" y="105"/>
                      <a:pt x="226" y="105"/>
                      <a:pt x="226" y="105"/>
                    </a:cubicBezTo>
                    <a:cubicBezTo>
                      <a:pt x="220" y="108"/>
                      <a:pt x="220" y="108"/>
                      <a:pt x="220" y="108"/>
                    </a:cubicBezTo>
                    <a:cubicBezTo>
                      <a:pt x="220" y="117"/>
                      <a:pt x="220" y="117"/>
                      <a:pt x="220" y="117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5" y="120"/>
                      <a:pt x="225" y="120"/>
                      <a:pt x="225" y="121"/>
                    </a:cubicBezTo>
                    <a:cubicBezTo>
                      <a:pt x="225" y="178"/>
                      <a:pt x="225" y="178"/>
                      <a:pt x="225" y="178"/>
                    </a:cubicBezTo>
                    <a:cubicBezTo>
                      <a:pt x="225" y="179"/>
                      <a:pt x="225" y="180"/>
                      <a:pt x="224" y="180"/>
                    </a:cubicBezTo>
                    <a:cubicBezTo>
                      <a:pt x="224" y="180"/>
                      <a:pt x="224" y="180"/>
                      <a:pt x="223" y="180"/>
                    </a:cubicBezTo>
                    <a:close/>
                    <a:moveTo>
                      <a:pt x="30" y="89"/>
                    </a:moveTo>
                    <a:cubicBezTo>
                      <a:pt x="221" y="175"/>
                      <a:pt x="221" y="175"/>
                      <a:pt x="221" y="175"/>
                    </a:cubicBezTo>
                    <a:cubicBezTo>
                      <a:pt x="221" y="122"/>
                      <a:pt x="221" y="122"/>
                      <a:pt x="221" y="122"/>
                    </a:cubicBezTo>
                    <a:cubicBezTo>
                      <a:pt x="219" y="121"/>
                      <a:pt x="219" y="121"/>
                      <a:pt x="219" y="121"/>
                    </a:cubicBezTo>
                    <a:cubicBezTo>
                      <a:pt x="219" y="156"/>
                      <a:pt x="219" y="156"/>
                      <a:pt x="219" y="156"/>
                    </a:cubicBezTo>
                    <a:cubicBezTo>
                      <a:pt x="219" y="156"/>
                      <a:pt x="219" y="157"/>
                      <a:pt x="218" y="157"/>
                    </a:cubicBezTo>
                    <a:cubicBezTo>
                      <a:pt x="218" y="158"/>
                      <a:pt x="217" y="158"/>
                      <a:pt x="216" y="157"/>
                    </a:cubicBezTo>
                    <a:cubicBezTo>
                      <a:pt x="189" y="145"/>
                      <a:pt x="189" y="145"/>
                      <a:pt x="189" y="145"/>
                    </a:cubicBezTo>
                    <a:cubicBezTo>
                      <a:pt x="188" y="145"/>
                      <a:pt x="188" y="144"/>
                      <a:pt x="188" y="143"/>
                    </a:cubicBezTo>
                    <a:cubicBezTo>
                      <a:pt x="188" y="107"/>
                      <a:pt x="188" y="107"/>
                      <a:pt x="188" y="107"/>
                    </a:cubicBezTo>
                    <a:cubicBezTo>
                      <a:pt x="188" y="106"/>
                      <a:pt x="188" y="105"/>
                      <a:pt x="188" y="105"/>
                    </a:cubicBezTo>
                    <a:cubicBezTo>
                      <a:pt x="189" y="105"/>
                      <a:pt x="189" y="104"/>
                      <a:pt x="190" y="105"/>
                    </a:cubicBezTo>
                    <a:cubicBezTo>
                      <a:pt x="194" y="105"/>
                      <a:pt x="199" y="107"/>
                      <a:pt x="204" y="109"/>
                    </a:cubicBezTo>
                    <a:cubicBezTo>
                      <a:pt x="208" y="111"/>
                      <a:pt x="212" y="113"/>
                      <a:pt x="216" y="115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5"/>
                      <a:pt x="217" y="105"/>
                    </a:cubicBezTo>
                    <a:cubicBezTo>
                      <a:pt x="222" y="102"/>
                      <a:pt x="222" y="102"/>
                      <a:pt x="222" y="102"/>
                    </a:cubicBezTo>
                    <a:cubicBezTo>
                      <a:pt x="208" y="97"/>
                      <a:pt x="194" y="93"/>
                      <a:pt x="179" y="89"/>
                    </a:cubicBezTo>
                    <a:cubicBezTo>
                      <a:pt x="160" y="84"/>
                      <a:pt x="139" y="78"/>
                      <a:pt x="119" y="69"/>
                    </a:cubicBezTo>
                    <a:cubicBezTo>
                      <a:pt x="98" y="59"/>
                      <a:pt x="79" y="47"/>
                      <a:pt x="60" y="35"/>
                    </a:cubicBezTo>
                    <a:cubicBezTo>
                      <a:pt x="40" y="22"/>
                      <a:pt x="21" y="10"/>
                      <a:pt x="4" y="4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89"/>
                      <a:pt x="30" y="89"/>
                      <a:pt x="30" y="89"/>
                    </a:cubicBezTo>
                    <a:close/>
                    <a:moveTo>
                      <a:pt x="192" y="142"/>
                    </a:moveTo>
                    <a:cubicBezTo>
                      <a:pt x="215" y="152"/>
                      <a:pt x="215" y="152"/>
                      <a:pt x="215" y="152"/>
                    </a:cubicBezTo>
                    <a:cubicBezTo>
                      <a:pt x="215" y="120"/>
                      <a:pt x="215" y="120"/>
                      <a:pt x="215" y="120"/>
                    </a:cubicBezTo>
                    <a:cubicBezTo>
                      <a:pt x="211" y="117"/>
                      <a:pt x="207" y="115"/>
                      <a:pt x="203" y="113"/>
                    </a:cubicBezTo>
                    <a:cubicBezTo>
                      <a:pt x="199" y="111"/>
                      <a:pt x="195" y="110"/>
                      <a:pt x="192" y="109"/>
                    </a:cubicBezTo>
                    <a:lnTo>
                      <a:pt x="192" y="142"/>
                    </a:lnTo>
                    <a:close/>
                    <a:moveTo>
                      <a:pt x="162" y="133"/>
                    </a:moveTo>
                    <a:cubicBezTo>
                      <a:pt x="162" y="133"/>
                      <a:pt x="161" y="133"/>
                      <a:pt x="161" y="132"/>
                    </a:cubicBezTo>
                    <a:cubicBezTo>
                      <a:pt x="134" y="120"/>
                      <a:pt x="134" y="120"/>
                      <a:pt x="134" y="120"/>
                    </a:cubicBezTo>
                    <a:cubicBezTo>
                      <a:pt x="133" y="120"/>
                      <a:pt x="132" y="119"/>
                      <a:pt x="132" y="118"/>
                    </a:cubicBezTo>
                    <a:cubicBezTo>
                      <a:pt x="132" y="82"/>
                      <a:pt x="132" y="82"/>
                      <a:pt x="132" y="82"/>
                    </a:cubicBezTo>
                    <a:cubicBezTo>
                      <a:pt x="132" y="81"/>
                      <a:pt x="133" y="80"/>
                      <a:pt x="133" y="80"/>
                    </a:cubicBezTo>
                    <a:cubicBezTo>
                      <a:pt x="134" y="80"/>
                      <a:pt x="134" y="80"/>
                      <a:pt x="135" y="80"/>
                    </a:cubicBezTo>
                    <a:cubicBezTo>
                      <a:pt x="139" y="81"/>
                      <a:pt x="144" y="82"/>
                      <a:pt x="149" y="84"/>
                    </a:cubicBezTo>
                    <a:cubicBezTo>
                      <a:pt x="154" y="87"/>
                      <a:pt x="159" y="89"/>
                      <a:pt x="163" y="92"/>
                    </a:cubicBezTo>
                    <a:cubicBezTo>
                      <a:pt x="164" y="93"/>
                      <a:pt x="164" y="93"/>
                      <a:pt x="164" y="94"/>
                    </a:cubicBezTo>
                    <a:cubicBezTo>
                      <a:pt x="164" y="131"/>
                      <a:pt x="164" y="131"/>
                      <a:pt x="164" y="131"/>
                    </a:cubicBezTo>
                    <a:cubicBezTo>
                      <a:pt x="164" y="131"/>
                      <a:pt x="164" y="132"/>
                      <a:pt x="163" y="132"/>
                    </a:cubicBezTo>
                    <a:cubicBezTo>
                      <a:pt x="163" y="133"/>
                      <a:pt x="162" y="133"/>
                      <a:pt x="162" y="133"/>
                    </a:cubicBezTo>
                    <a:close/>
                    <a:moveTo>
                      <a:pt x="136" y="117"/>
                    </a:moveTo>
                    <a:cubicBezTo>
                      <a:pt x="160" y="128"/>
                      <a:pt x="160" y="128"/>
                      <a:pt x="160" y="128"/>
                    </a:cubicBezTo>
                    <a:cubicBezTo>
                      <a:pt x="160" y="95"/>
                      <a:pt x="160" y="95"/>
                      <a:pt x="160" y="95"/>
                    </a:cubicBezTo>
                    <a:cubicBezTo>
                      <a:pt x="156" y="92"/>
                      <a:pt x="152" y="90"/>
                      <a:pt x="147" y="88"/>
                    </a:cubicBezTo>
                    <a:cubicBezTo>
                      <a:pt x="143" y="86"/>
                      <a:pt x="140" y="85"/>
                      <a:pt x="136" y="84"/>
                    </a:cubicBezTo>
                    <a:lnTo>
                      <a:pt x="136" y="117"/>
                    </a:lnTo>
                    <a:close/>
                    <a:moveTo>
                      <a:pt x="107" y="108"/>
                    </a:moveTo>
                    <a:cubicBezTo>
                      <a:pt x="106" y="108"/>
                      <a:pt x="106" y="108"/>
                      <a:pt x="106" y="108"/>
                    </a:cubicBezTo>
                    <a:cubicBezTo>
                      <a:pt x="78" y="95"/>
                      <a:pt x="78" y="95"/>
                      <a:pt x="78" y="95"/>
                    </a:cubicBezTo>
                    <a:cubicBezTo>
                      <a:pt x="77" y="95"/>
                      <a:pt x="77" y="94"/>
                      <a:pt x="77" y="93"/>
                    </a:cubicBezTo>
                    <a:cubicBezTo>
                      <a:pt x="77" y="57"/>
                      <a:pt x="77" y="57"/>
                      <a:pt x="77" y="57"/>
                    </a:cubicBezTo>
                    <a:cubicBezTo>
                      <a:pt x="77" y="56"/>
                      <a:pt x="77" y="56"/>
                      <a:pt x="78" y="55"/>
                    </a:cubicBezTo>
                    <a:cubicBezTo>
                      <a:pt x="78" y="55"/>
                      <a:pt x="79" y="55"/>
                      <a:pt x="79" y="55"/>
                    </a:cubicBezTo>
                    <a:cubicBezTo>
                      <a:pt x="84" y="56"/>
                      <a:pt x="89" y="57"/>
                      <a:pt x="94" y="60"/>
                    </a:cubicBezTo>
                    <a:cubicBezTo>
                      <a:pt x="99" y="62"/>
                      <a:pt x="103" y="65"/>
                      <a:pt x="108" y="68"/>
                    </a:cubicBezTo>
                    <a:cubicBezTo>
                      <a:pt x="108" y="68"/>
                      <a:pt x="109" y="69"/>
                      <a:pt x="109" y="69"/>
                    </a:cubicBezTo>
                    <a:cubicBezTo>
                      <a:pt x="109" y="106"/>
                      <a:pt x="109" y="106"/>
                      <a:pt x="109" y="106"/>
                    </a:cubicBezTo>
                    <a:cubicBezTo>
                      <a:pt x="109" y="106"/>
                      <a:pt x="108" y="107"/>
                      <a:pt x="108" y="107"/>
                    </a:cubicBezTo>
                    <a:cubicBezTo>
                      <a:pt x="107" y="108"/>
                      <a:pt x="107" y="108"/>
                      <a:pt x="107" y="108"/>
                    </a:cubicBezTo>
                    <a:close/>
                    <a:moveTo>
                      <a:pt x="81" y="92"/>
                    </a:moveTo>
                    <a:cubicBezTo>
                      <a:pt x="105" y="103"/>
                      <a:pt x="105" y="103"/>
                      <a:pt x="105" y="103"/>
                    </a:cubicBezTo>
                    <a:cubicBezTo>
                      <a:pt x="105" y="70"/>
                      <a:pt x="105" y="70"/>
                      <a:pt x="105" y="70"/>
                    </a:cubicBezTo>
                    <a:cubicBezTo>
                      <a:pt x="101" y="68"/>
                      <a:pt x="96" y="65"/>
                      <a:pt x="92" y="63"/>
                    </a:cubicBezTo>
                    <a:cubicBezTo>
                      <a:pt x="88" y="62"/>
                      <a:pt x="84" y="60"/>
                      <a:pt x="81" y="59"/>
                    </a:cubicBezTo>
                    <a:lnTo>
                      <a:pt x="81" y="92"/>
                    </a:lnTo>
                    <a:close/>
                    <a:moveTo>
                      <a:pt x="52" y="83"/>
                    </a:moveTo>
                    <a:cubicBezTo>
                      <a:pt x="52" y="83"/>
                      <a:pt x="51" y="83"/>
                      <a:pt x="51" y="83"/>
                    </a:cubicBezTo>
                    <a:cubicBezTo>
                      <a:pt x="24" y="70"/>
                      <a:pt x="24" y="70"/>
                      <a:pt x="24" y="70"/>
                    </a:cubicBezTo>
                    <a:cubicBezTo>
                      <a:pt x="23" y="70"/>
                      <a:pt x="22" y="69"/>
                      <a:pt x="22" y="68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22" y="31"/>
                      <a:pt x="23" y="31"/>
                      <a:pt x="23" y="30"/>
                    </a:cubicBezTo>
                    <a:cubicBezTo>
                      <a:pt x="24" y="30"/>
                      <a:pt x="24" y="30"/>
                      <a:pt x="25" y="30"/>
                    </a:cubicBezTo>
                    <a:cubicBezTo>
                      <a:pt x="29" y="31"/>
                      <a:pt x="34" y="32"/>
                      <a:pt x="39" y="35"/>
                    </a:cubicBezTo>
                    <a:cubicBezTo>
                      <a:pt x="44" y="37"/>
                      <a:pt x="49" y="40"/>
                      <a:pt x="53" y="42"/>
                    </a:cubicBezTo>
                    <a:cubicBezTo>
                      <a:pt x="54" y="43"/>
                      <a:pt x="54" y="43"/>
                      <a:pt x="54" y="44"/>
                    </a:cubicBezTo>
                    <a:cubicBezTo>
                      <a:pt x="54" y="81"/>
                      <a:pt x="54" y="81"/>
                      <a:pt x="54" y="81"/>
                    </a:cubicBezTo>
                    <a:cubicBezTo>
                      <a:pt x="54" y="81"/>
                      <a:pt x="54" y="82"/>
                      <a:pt x="53" y="82"/>
                    </a:cubicBezTo>
                    <a:cubicBezTo>
                      <a:pt x="53" y="83"/>
                      <a:pt x="52" y="83"/>
                      <a:pt x="52" y="83"/>
                    </a:cubicBezTo>
                    <a:close/>
                    <a:moveTo>
                      <a:pt x="26" y="67"/>
                    </a:moveTo>
                    <a:cubicBezTo>
                      <a:pt x="50" y="78"/>
                      <a:pt x="50" y="78"/>
                      <a:pt x="50" y="78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46" y="43"/>
                      <a:pt x="42" y="40"/>
                      <a:pt x="37" y="38"/>
                    </a:cubicBezTo>
                    <a:cubicBezTo>
                      <a:pt x="34" y="36"/>
                      <a:pt x="30" y="35"/>
                      <a:pt x="26" y="34"/>
                    </a:cubicBezTo>
                    <a:lnTo>
                      <a:pt x="26" y="6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23"/>
              <p:cNvSpPr>
                <a:spLocks/>
              </p:cNvSpPr>
              <p:nvPr/>
            </p:nvSpPr>
            <p:spPr bwMode="gray">
              <a:xfrm>
                <a:off x="3205" y="2040"/>
                <a:ext cx="166" cy="81"/>
              </a:xfrm>
              <a:custGeom>
                <a:avLst/>
                <a:gdLst>
                  <a:gd name="T0" fmla="*/ 162 w 166"/>
                  <a:gd name="T1" fmla="*/ 81 h 81"/>
                  <a:gd name="T2" fmla="*/ 0 w 166"/>
                  <a:gd name="T3" fmla="*/ 7 h 81"/>
                  <a:gd name="T4" fmla="*/ 2 w 166"/>
                  <a:gd name="T5" fmla="*/ 0 h 81"/>
                  <a:gd name="T6" fmla="*/ 166 w 166"/>
                  <a:gd name="T7" fmla="*/ 71 h 81"/>
                  <a:gd name="T8" fmla="*/ 162 w 166"/>
                  <a:gd name="T9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6" h="81">
                    <a:moveTo>
                      <a:pt x="162" y="81"/>
                    </a:moveTo>
                    <a:lnTo>
                      <a:pt x="0" y="7"/>
                    </a:lnTo>
                    <a:lnTo>
                      <a:pt x="2" y="0"/>
                    </a:lnTo>
                    <a:lnTo>
                      <a:pt x="166" y="71"/>
                    </a:lnTo>
                    <a:lnTo>
                      <a:pt x="162" y="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24"/>
              <p:cNvSpPr>
                <a:spLocks noEditPoints="1"/>
              </p:cNvSpPr>
              <p:nvPr/>
            </p:nvSpPr>
            <p:spPr bwMode="gray">
              <a:xfrm>
                <a:off x="3200" y="1840"/>
                <a:ext cx="174" cy="274"/>
              </a:xfrm>
              <a:custGeom>
                <a:avLst/>
                <a:gdLst>
                  <a:gd name="T0" fmla="*/ 71 w 73"/>
                  <a:gd name="T1" fmla="*/ 115 h 115"/>
                  <a:gd name="T2" fmla="*/ 70 w 73"/>
                  <a:gd name="T3" fmla="*/ 114 h 115"/>
                  <a:gd name="T4" fmla="*/ 2 w 73"/>
                  <a:gd name="T5" fmla="*/ 84 h 115"/>
                  <a:gd name="T6" fmla="*/ 0 w 73"/>
                  <a:gd name="T7" fmla="*/ 82 h 115"/>
                  <a:gd name="T8" fmla="*/ 0 w 73"/>
                  <a:gd name="T9" fmla="*/ 82 h 115"/>
                  <a:gd name="T10" fmla="*/ 0 w 73"/>
                  <a:gd name="T11" fmla="*/ 82 h 115"/>
                  <a:gd name="T12" fmla="*/ 0 w 73"/>
                  <a:gd name="T13" fmla="*/ 2 h 115"/>
                  <a:gd name="T14" fmla="*/ 1 w 73"/>
                  <a:gd name="T15" fmla="*/ 0 h 115"/>
                  <a:gd name="T16" fmla="*/ 3 w 73"/>
                  <a:gd name="T17" fmla="*/ 0 h 115"/>
                  <a:gd name="T18" fmla="*/ 72 w 73"/>
                  <a:gd name="T19" fmla="*/ 31 h 115"/>
                  <a:gd name="T20" fmla="*/ 73 w 73"/>
                  <a:gd name="T21" fmla="*/ 33 h 115"/>
                  <a:gd name="T22" fmla="*/ 73 w 73"/>
                  <a:gd name="T23" fmla="*/ 113 h 115"/>
                  <a:gd name="T24" fmla="*/ 72 w 73"/>
                  <a:gd name="T25" fmla="*/ 114 h 115"/>
                  <a:gd name="T26" fmla="*/ 71 w 73"/>
                  <a:gd name="T27" fmla="*/ 115 h 115"/>
                  <a:gd name="T28" fmla="*/ 4 w 73"/>
                  <a:gd name="T29" fmla="*/ 80 h 115"/>
                  <a:gd name="T30" fmla="*/ 69 w 73"/>
                  <a:gd name="T31" fmla="*/ 110 h 115"/>
                  <a:gd name="T32" fmla="*/ 69 w 73"/>
                  <a:gd name="T33" fmla="*/ 34 h 115"/>
                  <a:gd name="T34" fmla="*/ 4 w 73"/>
                  <a:gd name="T35" fmla="*/ 5 h 115"/>
                  <a:gd name="T36" fmla="*/ 4 w 73"/>
                  <a:gd name="T37" fmla="*/ 80 h 115"/>
                  <a:gd name="T38" fmla="*/ 51 w 73"/>
                  <a:gd name="T39" fmla="*/ 85 h 115"/>
                  <a:gd name="T40" fmla="*/ 50 w 73"/>
                  <a:gd name="T41" fmla="*/ 85 h 115"/>
                  <a:gd name="T42" fmla="*/ 22 w 73"/>
                  <a:gd name="T43" fmla="*/ 73 h 115"/>
                  <a:gd name="T44" fmla="*/ 21 w 73"/>
                  <a:gd name="T45" fmla="*/ 71 h 115"/>
                  <a:gd name="T46" fmla="*/ 21 w 73"/>
                  <a:gd name="T47" fmla="*/ 34 h 115"/>
                  <a:gd name="T48" fmla="*/ 22 w 73"/>
                  <a:gd name="T49" fmla="*/ 33 h 115"/>
                  <a:gd name="T50" fmla="*/ 24 w 73"/>
                  <a:gd name="T51" fmla="*/ 33 h 115"/>
                  <a:gd name="T52" fmla="*/ 38 w 73"/>
                  <a:gd name="T53" fmla="*/ 37 h 115"/>
                  <a:gd name="T54" fmla="*/ 52 w 73"/>
                  <a:gd name="T55" fmla="*/ 45 h 115"/>
                  <a:gd name="T56" fmla="*/ 53 w 73"/>
                  <a:gd name="T57" fmla="*/ 47 h 115"/>
                  <a:gd name="T58" fmla="*/ 53 w 73"/>
                  <a:gd name="T59" fmla="*/ 83 h 115"/>
                  <a:gd name="T60" fmla="*/ 52 w 73"/>
                  <a:gd name="T61" fmla="*/ 85 h 115"/>
                  <a:gd name="T62" fmla="*/ 51 w 73"/>
                  <a:gd name="T63" fmla="*/ 85 h 115"/>
                  <a:gd name="T64" fmla="*/ 25 w 73"/>
                  <a:gd name="T65" fmla="*/ 70 h 115"/>
                  <a:gd name="T66" fmla="*/ 49 w 73"/>
                  <a:gd name="T67" fmla="*/ 80 h 115"/>
                  <a:gd name="T68" fmla="*/ 49 w 73"/>
                  <a:gd name="T69" fmla="*/ 48 h 115"/>
                  <a:gd name="T70" fmla="*/ 36 w 73"/>
                  <a:gd name="T71" fmla="*/ 41 h 115"/>
                  <a:gd name="T72" fmla="*/ 25 w 73"/>
                  <a:gd name="T73" fmla="*/ 37 h 115"/>
                  <a:gd name="T74" fmla="*/ 25 w 73"/>
                  <a:gd name="T75" fmla="*/ 7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115">
                    <a:moveTo>
                      <a:pt x="71" y="115"/>
                    </a:moveTo>
                    <a:cubicBezTo>
                      <a:pt x="71" y="115"/>
                      <a:pt x="70" y="115"/>
                      <a:pt x="70" y="114"/>
                    </a:cubicBezTo>
                    <a:cubicBezTo>
                      <a:pt x="2" y="84"/>
                      <a:pt x="2" y="84"/>
                      <a:pt x="2" y="84"/>
                    </a:cubicBezTo>
                    <a:cubicBezTo>
                      <a:pt x="1" y="83"/>
                      <a:pt x="0" y="83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73" y="31"/>
                      <a:pt x="73" y="32"/>
                      <a:pt x="73" y="33"/>
                    </a:cubicBezTo>
                    <a:cubicBezTo>
                      <a:pt x="73" y="113"/>
                      <a:pt x="73" y="113"/>
                      <a:pt x="73" y="113"/>
                    </a:cubicBezTo>
                    <a:cubicBezTo>
                      <a:pt x="73" y="113"/>
                      <a:pt x="73" y="114"/>
                      <a:pt x="72" y="114"/>
                    </a:cubicBezTo>
                    <a:cubicBezTo>
                      <a:pt x="72" y="115"/>
                      <a:pt x="71" y="115"/>
                      <a:pt x="71" y="115"/>
                    </a:cubicBezTo>
                    <a:close/>
                    <a:moveTo>
                      <a:pt x="4" y="80"/>
                    </a:moveTo>
                    <a:cubicBezTo>
                      <a:pt x="69" y="110"/>
                      <a:pt x="69" y="110"/>
                      <a:pt x="69" y="110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80"/>
                    </a:lnTo>
                    <a:close/>
                    <a:moveTo>
                      <a:pt x="51" y="85"/>
                    </a:moveTo>
                    <a:cubicBezTo>
                      <a:pt x="51" y="85"/>
                      <a:pt x="50" y="85"/>
                      <a:pt x="50" y="85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22" y="73"/>
                      <a:pt x="21" y="72"/>
                      <a:pt x="21" y="71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34"/>
                      <a:pt x="22" y="33"/>
                      <a:pt x="22" y="33"/>
                    </a:cubicBezTo>
                    <a:cubicBezTo>
                      <a:pt x="22" y="33"/>
                      <a:pt x="23" y="32"/>
                      <a:pt x="24" y="33"/>
                    </a:cubicBezTo>
                    <a:cubicBezTo>
                      <a:pt x="28" y="33"/>
                      <a:pt x="33" y="35"/>
                      <a:pt x="38" y="37"/>
                    </a:cubicBezTo>
                    <a:cubicBezTo>
                      <a:pt x="43" y="39"/>
                      <a:pt x="48" y="42"/>
                      <a:pt x="52" y="45"/>
                    </a:cubicBezTo>
                    <a:cubicBezTo>
                      <a:pt x="52" y="46"/>
                      <a:pt x="53" y="46"/>
                      <a:pt x="53" y="47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53" y="84"/>
                      <a:pt x="52" y="85"/>
                      <a:pt x="52" y="85"/>
                    </a:cubicBezTo>
                    <a:cubicBezTo>
                      <a:pt x="52" y="85"/>
                      <a:pt x="51" y="85"/>
                      <a:pt x="51" y="85"/>
                    </a:cubicBezTo>
                    <a:close/>
                    <a:moveTo>
                      <a:pt x="25" y="70"/>
                    </a:moveTo>
                    <a:cubicBezTo>
                      <a:pt x="49" y="80"/>
                      <a:pt x="49" y="80"/>
                      <a:pt x="49" y="80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5" y="45"/>
                      <a:pt x="41" y="43"/>
                      <a:pt x="36" y="41"/>
                    </a:cubicBezTo>
                    <a:cubicBezTo>
                      <a:pt x="32" y="39"/>
                      <a:pt x="29" y="38"/>
                      <a:pt x="25" y="37"/>
                    </a:cubicBezTo>
                    <a:lnTo>
                      <a:pt x="25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25"/>
              <p:cNvSpPr>
                <a:spLocks noEditPoints="1"/>
              </p:cNvSpPr>
              <p:nvPr/>
            </p:nvSpPr>
            <p:spPr bwMode="gray">
              <a:xfrm>
                <a:off x="3200" y="2059"/>
                <a:ext cx="174" cy="257"/>
              </a:xfrm>
              <a:custGeom>
                <a:avLst/>
                <a:gdLst>
                  <a:gd name="T0" fmla="*/ 71 w 73"/>
                  <a:gd name="T1" fmla="*/ 108 h 108"/>
                  <a:gd name="T2" fmla="*/ 70 w 73"/>
                  <a:gd name="T3" fmla="*/ 108 h 108"/>
                  <a:gd name="T4" fmla="*/ 2 w 73"/>
                  <a:gd name="T5" fmla="*/ 77 h 108"/>
                  <a:gd name="T6" fmla="*/ 0 w 73"/>
                  <a:gd name="T7" fmla="*/ 75 h 108"/>
                  <a:gd name="T8" fmla="*/ 0 w 73"/>
                  <a:gd name="T9" fmla="*/ 75 h 108"/>
                  <a:gd name="T10" fmla="*/ 0 w 73"/>
                  <a:gd name="T11" fmla="*/ 75 h 108"/>
                  <a:gd name="T12" fmla="*/ 0 w 73"/>
                  <a:gd name="T13" fmla="*/ 2 h 108"/>
                  <a:gd name="T14" fmla="*/ 1 w 73"/>
                  <a:gd name="T15" fmla="*/ 1 h 108"/>
                  <a:gd name="T16" fmla="*/ 3 w 73"/>
                  <a:gd name="T17" fmla="*/ 1 h 108"/>
                  <a:gd name="T18" fmla="*/ 72 w 73"/>
                  <a:gd name="T19" fmla="*/ 32 h 108"/>
                  <a:gd name="T20" fmla="*/ 73 w 73"/>
                  <a:gd name="T21" fmla="*/ 33 h 108"/>
                  <a:gd name="T22" fmla="*/ 73 w 73"/>
                  <a:gd name="T23" fmla="*/ 106 h 108"/>
                  <a:gd name="T24" fmla="*/ 72 w 73"/>
                  <a:gd name="T25" fmla="*/ 108 h 108"/>
                  <a:gd name="T26" fmla="*/ 71 w 73"/>
                  <a:gd name="T27" fmla="*/ 108 h 108"/>
                  <a:gd name="T28" fmla="*/ 4 w 73"/>
                  <a:gd name="T29" fmla="*/ 74 h 108"/>
                  <a:gd name="T30" fmla="*/ 69 w 73"/>
                  <a:gd name="T31" fmla="*/ 103 h 108"/>
                  <a:gd name="T32" fmla="*/ 69 w 73"/>
                  <a:gd name="T33" fmla="*/ 35 h 108"/>
                  <a:gd name="T34" fmla="*/ 4 w 73"/>
                  <a:gd name="T35" fmla="*/ 6 h 108"/>
                  <a:gd name="T36" fmla="*/ 4 w 73"/>
                  <a:gd name="T37" fmla="*/ 74 h 108"/>
                  <a:gd name="T38" fmla="*/ 51 w 73"/>
                  <a:gd name="T39" fmla="*/ 79 h 108"/>
                  <a:gd name="T40" fmla="*/ 50 w 73"/>
                  <a:gd name="T41" fmla="*/ 79 h 108"/>
                  <a:gd name="T42" fmla="*/ 22 w 73"/>
                  <a:gd name="T43" fmla="*/ 66 h 108"/>
                  <a:gd name="T44" fmla="*/ 21 w 73"/>
                  <a:gd name="T45" fmla="*/ 64 h 108"/>
                  <a:gd name="T46" fmla="*/ 21 w 73"/>
                  <a:gd name="T47" fmla="*/ 28 h 108"/>
                  <a:gd name="T48" fmla="*/ 22 w 73"/>
                  <a:gd name="T49" fmla="*/ 26 h 108"/>
                  <a:gd name="T50" fmla="*/ 24 w 73"/>
                  <a:gd name="T51" fmla="*/ 26 h 108"/>
                  <a:gd name="T52" fmla="*/ 38 w 73"/>
                  <a:gd name="T53" fmla="*/ 31 h 108"/>
                  <a:gd name="T54" fmla="*/ 52 w 73"/>
                  <a:gd name="T55" fmla="*/ 38 h 108"/>
                  <a:gd name="T56" fmla="*/ 53 w 73"/>
                  <a:gd name="T57" fmla="*/ 40 h 108"/>
                  <a:gd name="T58" fmla="*/ 53 w 73"/>
                  <a:gd name="T59" fmla="*/ 77 h 108"/>
                  <a:gd name="T60" fmla="*/ 52 w 73"/>
                  <a:gd name="T61" fmla="*/ 78 h 108"/>
                  <a:gd name="T62" fmla="*/ 51 w 73"/>
                  <a:gd name="T63" fmla="*/ 79 h 108"/>
                  <a:gd name="T64" fmla="*/ 25 w 73"/>
                  <a:gd name="T65" fmla="*/ 63 h 108"/>
                  <a:gd name="T66" fmla="*/ 49 w 73"/>
                  <a:gd name="T67" fmla="*/ 74 h 108"/>
                  <a:gd name="T68" fmla="*/ 49 w 73"/>
                  <a:gd name="T69" fmla="*/ 41 h 108"/>
                  <a:gd name="T70" fmla="*/ 36 w 73"/>
                  <a:gd name="T71" fmla="*/ 34 h 108"/>
                  <a:gd name="T72" fmla="*/ 25 w 73"/>
                  <a:gd name="T73" fmla="*/ 30 h 108"/>
                  <a:gd name="T74" fmla="*/ 25 w 73"/>
                  <a:gd name="T75" fmla="*/ 6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" h="108">
                    <a:moveTo>
                      <a:pt x="71" y="108"/>
                    </a:moveTo>
                    <a:cubicBezTo>
                      <a:pt x="71" y="108"/>
                      <a:pt x="70" y="108"/>
                      <a:pt x="70" y="108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1" y="77"/>
                      <a:pt x="0" y="76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72" y="32"/>
                      <a:pt x="72" y="32"/>
                      <a:pt x="72" y="32"/>
                    </a:cubicBezTo>
                    <a:cubicBezTo>
                      <a:pt x="73" y="32"/>
                      <a:pt x="73" y="33"/>
                      <a:pt x="73" y="33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73" y="107"/>
                      <a:pt x="73" y="107"/>
                      <a:pt x="72" y="108"/>
                    </a:cubicBezTo>
                    <a:cubicBezTo>
                      <a:pt x="72" y="108"/>
                      <a:pt x="71" y="108"/>
                      <a:pt x="71" y="108"/>
                    </a:cubicBezTo>
                    <a:close/>
                    <a:moveTo>
                      <a:pt x="4" y="74"/>
                    </a:moveTo>
                    <a:cubicBezTo>
                      <a:pt x="69" y="103"/>
                      <a:pt x="69" y="103"/>
                      <a:pt x="69" y="103"/>
                    </a:cubicBezTo>
                    <a:cubicBezTo>
                      <a:pt x="69" y="35"/>
                      <a:pt x="69" y="35"/>
                      <a:pt x="69" y="35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74"/>
                    </a:lnTo>
                    <a:close/>
                    <a:moveTo>
                      <a:pt x="51" y="79"/>
                    </a:moveTo>
                    <a:cubicBezTo>
                      <a:pt x="51" y="79"/>
                      <a:pt x="50" y="79"/>
                      <a:pt x="50" y="79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2" y="66"/>
                      <a:pt x="21" y="65"/>
                      <a:pt x="21" y="64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7"/>
                      <a:pt x="22" y="27"/>
                      <a:pt x="22" y="26"/>
                    </a:cubicBezTo>
                    <a:cubicBezTo>
                      <a:pt x="22" y="26"/>
                      <a:pt x="23" y="26"/>
                      <a:pt x="24" y="26"/>
                    </a:cubicBezTo>
                    <a:cubicBezTo>
                      <a:pt x="28" y="27"/>
                      <a:pt x="33" y="28"/>
                      <a:pt x="38" y="31"/>
                    </a:cubicBezTo>
                    <a:cubicBezTo>
                      <a:pt x="43" y="33"/>
                      <a:pt x="48" y="36"/>
                      <a:pt x="52" y="38"/>
                    </a:cubicBezTo>
                    <a:cubicBezTo>
                      <a:pt x="52" y="39"/>
                      <a:pt x="53" y="39"/>
                      <a:pt x="53" y="40"/>
                    </a:cubicBezTo>
                    <a:cubicBezTo>
                      <a:pt x="53" y="77"/>
                      <a:pt x="53" y="77"/>
                      <a:pt x="53" y="77"/>
                    </a:cubicBezTo>
                    <a:cubicBezTo>
                      <a:pt x="53" y="77"/>
                      <a:pt x="52" y="78"/>
                      <a:pt x="52" y="78"/>
                    </a:cubicBezTo>
                    <a:cubicBezTo>
                      <a:pt x="52" y="79"/>
                      <a:pt x="51" y="79"/>
                      <a:pt x="51" y="79"/>
                    </a:cubicBezTo>
                    <a:close/>
                    <a:moveTo>
                      <a:pt x="25" y="63"/>
                    </a:moveTo>
                    <a:cubicBezTo>
                      <a:pt x="49" y="74"/>
                      <a:pt x="49" y="74"/>
                      <a:pt x="49" y="74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45" y="39"/>
                      <a:pt x="41" y="36"/>
                      <a:pt x="36" y="34"/>
                    </a:cubicBezTo>
                    <a:cubicBezTo>
                      <a:pt x="32" y="32"/>
                      <a:pt x="29" y="31"/>
                      <a:pt x="25" y="30"/>
                    </a:cubicBezTo>
                    <a:lnTo>
                      <a:pt x="25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26"/>
              <p:cNvSpPr>
                <a:spLocks noEditPoints="1"/>
              </p:cNvSpPr>
              <p:nvPr/>
            </p:nvSpPr>
            <p:spPr bwMode="gray">
              <a:xfrm>
                <a:off x="3364" y="1888"/>
                <a:ext cx="69" cy="226"/>
              </a:xfrm>
              <a:custGeom>
                <a:avLst/>
                <a:gdLst>
                  <a:gd name="T0" fmla="*/ 2 w 29"/>
                  <a:gd name="T1" fmla="*/ 95 h 95"/>
                  <a:gd name="T2" fmla="*/ 1 w 29"/>
                  <a:gd name="T3" fmla="*/ 94 h 95"/>
                  <a:gd name="T4" fmla="*/ 0 w 29"/>
                  <a:gd name="T5" fmla="*/ 93 h 95"/>
                  <a:gd name="T6" fmla="*/ 0 w 29"/>
                  <a:gd name="T7" fmla="*/ 13 h 95"/>
                  <a:gd name="T8" fmla="*/ 1 w 29"/>
                  <a:gd name="T9" fmla="*/ 11 h 95"/>
                  <a:gd name="T10" fmla="*/ 1 w 29"/>
                  <a:gd name="T11" fmla="*/ 11 h 95"/>
                  <a:gd name="T12" fmla="*/ 25 w 29"/>
                  <a:gd name="T13" fmla="*/ 0 h 95"/>
                  <a:gd name="T14" fmla="*/ 26 w 29"/>
                  <a:gd name="T15" fmla="*/ 0 h 95"/>
                  <a:gd name="T16" fmla="*/ 27 w 29"/>
                  <a:gd name="T17" fmla="*/ 0 h 95"/>
                  <a:gd name="T18" fmla="*/ 29 w 29"/>
                  <a:gd name="T19" fmla="*/ 2 h 95"/>
                  <a:gd name="T20" fmla="*/ 29 w 29"/>
                  <a:gd name="T21" fmla="*/ 81 h 95"/>
                  <a:gd name="T22" fmla="*/ 28 w 29"/>
                  <a:gd name="T23" fmla="*/ 83 h 95"/>
                  <a:gd name="T24" fmla="*/ 3 w 29"/>
                  <a:gd name="T25" fmla="*/ 94 h 95"/>
                  <a:gd name="T26" fmla="*/ 2 w 29"/>
                  <a:gd name="T27" fmla="*/ 95 h 95"/>
                  <a:gd name="T28" fmla="*/ 4 w 29"/>
                  <a:gd name="T29" fmla="*/ 14 h 95"/>
                  <a:gd name="T30" fmla="*/ 4 w 29"/>
                  <a:gd name="T31" fmla="*/ 90 h 95"/>
                  <a:gd name="T32" fmla="*/ 25 w 29"/>
                  <a:gd name="T33" fmla="*/ 80 h 95"/>
                  <a:gd name="T34" fmla="*/ 25 w 29"/>
                  <a:gd name="T35" fmla="*/ 4 h 95"/>
                  <a:gd name="T36" fmla="*/ 4 w 29"/>
                  <a:gd name="T37" fmla="*/ 14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95">
                    <a:moveTo>
                      <a:pt x="2" y="95"/>
                    </a:moveTo>
                    <a:cubicBezTo>
                      <a:pt x="2" y="95"/>
                      <a:pt x="1" y="95"/>
                      <a:pt x="1" y="94"/>
                    </a:cubicBezTo>
                    <a:cubicBezTo>
                      <a:pt x="0" y="94"/>
                      <a:pt x="0" y="93"/>
                      <a:pt x="0" y="9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0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26" y="0"/>
                      <a:pt x="26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8" y="0"/>
                      <a:pt x="29" y="1"/>
                      <a:pt x="29" y="2"/>
                    </a:cubicBezTo>
                    <a:cubicBezTo>
                      <a:pt x="29" y="81"/>
                      <a:pt x="29" y="81"/>
                      <a:pt x="29" y="81"/>
                    </a:cubicBezTo>
                    <a:cubicBezTo>
                      <a:pt x="29" y="82"/>
                      <a:pt x="29" y="82"/>
                      <a:pt x="28" y="83"/>
                    </a:cubicBezTo>
                    <a:cubicBezTo>
                      <a:pt x="3" y="94"/>
                      <a:pt x="3" y="94"/>
                      <a:pt x="3" y="94"/>
                    </a:cubicBezTo>
                    <a:cubicBezTo>
                      <a:pt x="3" y="95"/>
                      <a:pt x="2" y="95"/>
                      <a:pt x="2" y="95"/>
                    </a:cubicBezTo>
                    <a:close/>
                    <a:moveTo>
                      <a:pt x="4" y="14"/>
                    </a:moveTo>
                    <a:cubicBezTo>
                      <a:pt x="4" y="90"/>
                      <a:pt x="4" y="90"/>
                      <a:pt x="4" y="90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4"/>
                      <a:pt x="25" y="4"/>
                      <a:pt x="25" y="4"/>
                    </a:cubicBez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27"/>
              <p:cNvSpPr>
                <a:spLocks/>
              </p:cNvSpPr>
              <p:nvPr/>
            </p:nvSpPr>
            <p:spPr bwMode="gray">
              <a:xfrm>
                <a:off x="3364" y="2083"/>
                <a:ext cx="72" cy="38"/>
              </a:xfrm>
              <a:custGeom>
                <a:avLst/>
                <a:gdLst>
                  <a:gd name="T0" fmla="*/ 2 w 30"/>
                  <a:gd name="T1" fmla="*/ 16 h 16"/>
                  <a:gd name="T2" fmla="*/ 2 w 30"/>
                  <a:gd name="T3" fmla="*/ 16 h 16"/>
                  <a:gd name="T4" fmla="*/ 2 w 30"/>
                  <a:gd name="T5" fmla="*/ 16 h 16"/>
                  <a:gd name="T6" fmla="*/ 2 w 30"/>
                  <a:gd name="T7" fmla="*/ 16 h 16"/>
                  <a:gd name="T8" fmla="*/ 2 w 30"/>
                  <a:gd name="T9" fmla="*/ 16 h 16"/>
                  <a:gd name="T10" fmla="*/ 2 w 30"/>
                  <a:gd name="T11" fmla="*/ 16 h 16"/>
                  <a:gd name="T12" fmla="*/ 2 w 30"/>
                  <a:gd name="T13" fmla="*/ 16 h 16"/>
                  <a:gd name="T14" fmla="*/ 2 w 30"/>
                  <a:gd name="T15" fmla="*/ 16 h 16"/>
                  <a:gd name="T16" fmla="*/ 2 w 30"/>
                  <a:gd name="T17" fmla="*/ 16 h 16"/>
                  <a:gd name="T18" fmla="*/ 2 w 30"/>
                  <a:gd name="T19" fmla="*/ 16 h 16"/>
                  <a:gd name="T20" fmla="*/ 1 w 30"/>
                  <a:gd name="T21" fmla="*/ 16 h 16"/>
                  <a:gd name="T22" fmla="*/ 1 w 30"/>
                  <a:gd name="T23" fmla="*/ 16 h 16"/>
                  <a:gd name="T24" fmla="*/ 1 w 30"/>
                  <a:gd name="T25" fmla="*/ 16 h 16"/>
                  <a:gd name="T26" fmla="*/ 1 w 30"/>
                  <a:gd name="T27" fmla="*/ 16 h 16"/>
                  <a:gd name="T28" fmla="*/ 1 w 30"/>
                  <a:gd name="T29" fmla="*/ 16 h 16"/>
                  <a:gd name="T30" fmla="*/ 1 w 30"/>
                  <a:gd name="T31" fmla="*/ 16 h 16"/>
                  <a:gd name="T32" fmla="*/ 1 w 30"/>
                  <a:gd name="T33" fmla="*/ 16 h 16"/>
                  <a:gd name="T34" fmla="*/ 1 w 30"/>
                  <a:gd name="T35" fmla="*/ 16 h 16"/>
                  <a:gd name="T36" fmla="*/ 1 w 30"/>
                  <a:gd name="T37" fmla="*/ 16 h 16"/>
                  <a:gd name="T38" fmla="*/ 1 w 30"/>
                  <a:gd name="T39" fmla="*/ 16 h 16"/>
                  <a:gd name="T40" fmla="*/ 1 w 30"/>
                  <a:gd name="T41" fmla="*/ 16 h 16"/>
                  <a:gd name="T42" fmla="*/ 1 w 30"/>
                  <a:gd name="T43" fmla="*/ 16 h 16"/>
                  <a:gd name="T44" fmla="*/ 1 w 30"/>
                  <a:gd name="T45" fmla="*/ 16 h 16"/>
                  <a:gd name="T46" fmla="*/ 1 w 30"/>
                  <a:gd name="T47" fmla="*/ 16 h 16"/>
                  <a:gd name="T48" fmla="*/ 1 w 30"/>
                  <a:gd name="T49" fmla="*/ 16 h 16"/>
                  <a:gd name="T50" fmla="*/ 1 w 30"/>
                  <a:gd name="T51" fmla="*/ 16 h 16"/>
                  <a:gd name="T52" fmla="*/ 1 w 30"/>
                  <a:gd name="T53" fmla="*/ 16 h 16"/>
                  <a:gd name="T54" fmla="*/ 1 w 30"/>
                  <a:gd name="T55" fmla="*/ 16 h 16"/>
                  <a:gd name="T56" fmla="*/ 1 w 30"/>
                  <a:gd name="T57" fmla="*/ 16 h 16"/>
                  <a:gd name="T58" fmla="*/ 1 w 30"/>
                  <a:gd name="T59" fmla="*/ 16 h 16"/>
                  <a:gd name="T60" fmla="*/ 1 w 30"/>
                  <a:gd name="T61" fmla="*/ 16 h 16"/>
                  <a:gd name="T62" fmla="*/ 1 w 30"/>
                  <a:gd name="T63" fmla="*/ 16 h 16"/>
                  <a:gd name="T64" fmla="*/ 1 w 30"/>
                  <a:gd name="T65" fmla="*/ 16 h 16"/>
                  <a:gd name="T66" fmla="*/ 1 w 30"/>
                  <a:gd name="T67" fmla="*/ 16 h 16"/>
                  <a:gd name="T68" fmla="*/ 0 w 30"/>
                  <a:gd name="T69" fmla="*/ 14 h 16"/>
                  <a:gd name="T70" fmla="*/ 1 w 30"/>
                  <a:gd name="T71" fmla="*/ 12 h 16"/>
                  <a:gd name="T72" fmla="*/ 29 w 30"/>
                  <a:gd name="T73" fmla="*/ 2 h 16"/>
                  <a:gd name="T74" fmla="*/ 3 w 30"/>
                  <a:gd name="T7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0" h="16">
                    <a:moveTo>
                      <a:pt x="2" y="16"/>
                    </a:move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14"/>
                      <a:pt x="0" y="13"/>
                      <a:pt x="0" y="13"/>
                    </a:cubicBezTo>
                    <a:cubicBezTo>
                      <a:pt x="0" y="13"/>
                      <a:pt x="1" y="12"/>
                      <a:pt x="1" y="12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9" y="1"/>
                      <a:pt x="29" y="2"/>
                    </a:cubicBezTo>
                    <a:cubicBezTo>
                      <a:pt x="30" y="3"/>
                      <a:pt x="29" y="4"/>
                      <a:pt x="28" y="4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28"/>
              <p:cNvSpPr>
                <a:spLocks noEditPoints="1"/>
              </p:cNvSpPr>
              <p:nvPr/>
            </p:nvSpPr>
            <p:spPr bwMode="gray">
              <a:xfrm>
                <a:off x="3364" y="2107"/>
                <a:ext cx="69" cy="209"/>
              </a:xfrm>
              <a:custGeom>
                <a:avLst/>
                <a:gdLst>
                  <a:gd name="T0" fmla="*/ 2 w 29"/>
                  <a:gd name="T1" fmla="*/ 88 h 88"/>
                  <a:gd name="T2" fmla="*/ 1 w 29"/>
                  <a:gd name="T3" fmla="*/ 88 h 88"/>
                  <a:gd name="T4" fmla="*/ 0 w 29"/>
                  <a:gd name="T5" fmla="*/ 86 h 88"/>
                  <a:gd name="T6" fmla="*/ 0 w 29"/>
                  <a:gd name="T7" fmla="*/ 13 h 88"/>
                  <a:gd name="T8" fmla="*/ 1 w 29"/>
                  <a:gd name="T9" fmla="*/ 12 h 88"/>
                  <a:gd name="T10" fmla="*/ 1 w 29"/>
                  <a:gd name="T11" fmla="*/ 11 h 88"/>
                  <a:gd name="T12" fmla="*/ 26 w 29"/>
                  <a:gd name="T13" fmla="*/ 0 h 88"/>
                  <a:gd name="T14" fmla="*/ 28 w 29"/>
                  <a:gd name="T15" fmla="*/ 0 h 88"/>
                  <a:gd name="T16" fmla="*/ 29 w 29"/>
                  <a:gd name="T17" fmla="*/ 2 h 88"/>
                  <a:gd name="T18" fmla="*/ 29 w 29"/>
                  <a:gd name="T19" fmla="*/ 74 h 88"/>
                  <a:gd name="T20" fmla="*/ 28 w 29"/>
                  <a:gd name="T21" fmla="*/ 76 h 88"/>
                  <a:gd name="T22" fmla="*/ 3 w 29"/>
                  <a:gd name="T23" fmla="*/ 88 h 88"/>
                  <a:gd name="T24" fmla="*/ 2 w 29"/>
                  <a:gd name="T25" fmla="*/ 88 h 88"/>
                  <a:gd name="T26" fmla="*/ 4 w 29"/>
                  <a:gd name="T27" fmla="*/ 15 h 88"/>
                  <a:gd name="T28" fmla="*/ 4 w 29"/>
                  <a:gd name="T29" fmla="*/ 83 h 88"/>
                  <a:gd name="T30" fmla="*/ 25 w 29"/>
                  <a:gd name="T31" fmla="*/ 73 h 88"/>
                  <a:gd name="T32" fmla="*/ 25 w 29"/>
                  <a:gd name="T33" fmla="*/ 5 h 88"/>
                  <a:gd name="T34" fmla="*/ 4 w 29"/>
                  <a:gd name="T35" fmla="*/ 15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88">
                    <a:moveTo>
                      <a:pt x="2" y="88"/>
                    </a:moveTo>
                    <a:cubicBezTo>
                      <a:pt x="2" y="88"/>
                      <a:pt x="1" y="88"/>
                      <a:pt x="1" y="88"/>
                    </a:cubicBezTo>
                    <a:cubicBezTo>
                      <a:pt x="0" y="87"/>
                      <a:pt x="0" y="87"/>
                      <a:pt x="0" y="86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2"/>
                      <a:pt x="1" y="12"/>
                    </a:cubicBezTo>
                    <a:cubicBezTo>
                      <a:pt x="1" y="12"/>
                      <a:pt x="1" y="11"/>
                      <a:pt x="1" y="1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7" y="0"/>
                      <a:pt x="28" y="0"/>
                      <a:pt x="28" y="0"/>
                    </a:cubicBezTo>
                    <a:cubicBezTo>
                      <a:pt x="29" y="0"/>
                      <a:pt x="29" y="1"/>
                      <a:pt x="29" y="2"/>
                    </a:cubicBezTo>
                    <a:cubicBezTo>
                      <a:pt x="29" y="74"/>
                      <a:pt x="29" y="74"/>
                      <a:pt x="29" y="74"/>
                    </a:cubicBezTo>
                    <a:cubicBezTo>
                      <a:pt x="29" y="75"/>
                      <a:pt x="29" y="76"/>
                      <a:pt x="28" y="76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3" y="88"/>
                      <a:pt x="2" y="88"/>
                      <a:pt x="2" y="88"/>
                    </a:cubicBezTo>
                    <a:close/>
                    <a:moveTo>
                      <a:pt x="4" y="15"/>
                    </a:moveTo>
                    <a:cubicBezTo>
                      <a:pt x="4" y="83"/>
                      <a:pt x="4" y="83"/>
                      <a:pt x="4" y="83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5"/>
                      <a:pt x="25" y="5"/>
                      <a:pt x="25" y="5"/>
                    </a:cubicBezTo>
                    <a:lnTo>
                      <a:pt x="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29"/>
              <p:cNvSpPr>
                <a:spLocks noEditPoints="1"/>
              </p:cNvSpPr>
              <p:nvPr/>
            </p:nvSpPr>
            <p:spPr bwMode="gray">
              <a:xfrm>
                <a:off x="4118" y="2092"/>
                <a:ext cx="361" cy="359"/>
              </a:xfrm>
              <a:custGeom>
                <a:avLst/>
                <a:gdLst>
                  <a:gd name="T0" fmla="*/ 2 w 152"/>
                  <a:gd name="T1" fmla="*/ 151 h 151"/>
                  <a:gd name="T2" fmla="*/ 1 w 152"/>
                  <a:gd name="T3" fmla="*/ 151 h 151"/>
                  <a:gd name="T4" fmla="*/ 0 w 152"/>
                  <a:gd name="T5" fmla="*/ 149 h 151"/>
                  <a:gd name="T6" fmla="*/ 0 w 152"/>
                  <a:gd name="T7" fmla="*/ 69 h 151"/>
                  <a:gd name="T8" fmla="*/ 1 w 152"/>
                  <a:gd name="T9" fmla="*/ 67 h 151"/>
                  <a:gd name="T10" fmla="*/ 1 w 152"/>
                  <a:gd name="T11" fmla="*/ 67 h 151"/>
                  <a:gd name="T12" fmla="*/ 149 w 152"/>
                  <a:gd name="T13" fmla="*/ 0 h 151"/>
                  <a:gd name="T14" fmla="*/ 151 w 152"/>
                  <a:gd name="T15" fmla="*/ 0 h 151"/>
                  <a:gd name="T16" fmla="*/ 152 w 152"/>
                  <a:gd name="T17" fmla="*/ 2 h 151"/>
                  <a:gd name="T18" fmla="*/ 152 w 152"/>
                  <a:gd name="T19" fmla="*/ 82 h 151"/>
                  <a:gd name="T20" fmla="*/ 151 w 152"/>
                  <a:gd name="T21" fmla="*/ 83 h 151"/>
                  <a:gd name="T22" fmla="*/ 150 w 152"/>
                  <a:gd name="T23" fmla="*/ 84 h 151"/>
                  <a:gd name="T24" fmla="*/ 3 w 152"/>
                  <a:gd name="T25" fmla="*/ 151 h 151"/>
                  <a:gd name="T26" fmla="*/ 2 w 152"/>
                  <a:gd name="T27" fmla="*/ 151 h 151"/>
                  <a:gd name="T28" fmla="*/ 4 w 152"/>
                  <a:gd name="T29" fmla="*/ 70 h 151"/>
                  <a:gd name="T30" fmla="*/ 4 w 152"/>
                  <a:gd name="T31" fmla="*/ 146 h 151"/>
                  <a:gd name="T32" fmla="*/ 148 w 152"/>
                  <a:gd name="T33" fmla="*/ 80 h 151"/>
                  <a:gd name="T34" fmla="*/ 148 w 152"/>
                  <a:gd name="T35" fmla="*/ 5 h 151"/>
                  <a:gd name="T36" fmla="*/ 4 w 152"/>
                  <a:gd name="T37" fmla="*/ 70 h 151"/>
                  <a:gd name="T38" fmla="*/ 36 w 152"/>
                  <a:gd name="T39" fmla="*/ 117 h 151"/>
                  <a:gd name="T40" fmla="*/ 35 w 152"/>
                  <a:gd name="T41" fmla="*/ 117 h 151"/>
                  <a:gd name="T42" fmla="*/ 34 w 152"/>
                  <a:gd name="T43" fmla="*/ 115 h 151"/>
                  <a:gd name="T44" fmla="*/ 34 w 152"/>
                  <a:gd name="T45" fmla="*/ 79 h 151"/>
                  <a:gd name="T46" fmla="*/ 35 w 152"/>
                  <a:gd name="T47" fmla="*/ 77 h 151"/>
                  <a:gd name="T48" fmla="*/ 49 w 152"/>
                  <a:gd name="T49" fmla="*/ 69 h 151"/>
                  <a:gd name="T50" fmla="*/ 63 w 152"/>
                  <a:gd name="T51" fmla="*/ 64 h 151"/>
                  <a:gd name="T52" fmla="*/ 65 w 152"/>
                  <a:gd name="T53" fmla="*/ 65 h 151"/>
                  <a:gd name="T54" fmla="*/ 66 w 152"/>
                  <a:gd name="T55" fmla="*/ 66 h 151"/>
                  <a:gd name="T56" fmla="*/ 66 w 152"/>
                  <a:gd name="T57" fmla="*/ 103 h 151"/>
                  <a:gd name="T58" fmla="*/ 64 w 152"/>
                  <a:gd name="T59" fmla="*/ 105 h 151"/>
                  <a:gd name="T60" fmla="*/ 37 w 152"/>
                  <a:gd name="T61" fmla="*/ 117 h 151"/>
                  <a:gd name="T62" fmla="*/ 36 w 152"/>
                  <a:gd name="T63" fmla="*/ 117 h 151"/>
                  <a:gd name="T64" fmla="*/ 38 w 152"/>
                  <a:gd name="T65" fmla="*/ 80 h 151"/>
                  <a:gd name="T66" fmla="*/ 38 w 152"/>
                  <a:gd name="T67" fmla="*/ 112 h 151"/>
                  <a:gd name="T68" fmla="*/ 62 w 152"/>
                  <a:gd name="T69" fmla="*/ 102 h 151"/>
                  <a:gd name="T70" fmla="*/ 62 w 152"/>
                  <a:gd name="T71" fmla="*/ 69 h 151"/>
                  <a:gd name="T72" fmla="*/ 51 w 152"/>
                  <a:gd name="T73" fmla="*/ 73 h 151"/>
                  <a:gd name="T74" fmla="*/ 38 w 152"/>
                  <a:gd name="T75" fmla="*/ 80 h 151"/>
                  <a:gd name="T76" fmla="*/ 97 w 152"/>
                  <a:gd name="T77" fmla="*/ 88 h 151"/>
                  <a:gd name="T78" fmla="*/ 96 w 152"/>
                  <a:gd name="T79" fmla="*/ 88 h 151"/>
                  <a:gd name="T80" fmla="*/ 95 w 152"/>
                  <a:gd name="T81" fmla="*/ 86 h 151"/>
                  <a:gd name="T82" fmla="*/ 95 w 152"/>
                  <a:gd name="T83" fmla="*/ 50 h 151"/>
                  <a:gd name="T84" fmla="*/ 96 w 152"/>
                  <a:gd name="T85" fmla="*/ 48 h 151"/>
                  <a:gd name="T86" fmla="*/ 110 w 152"/>
                  <a:gd name="T87" fmla="*/ 40 h 151"/>
                  <a:gd name="T88" fmla="*/ 124 w 152"/>
                  <a:gd name="T89" fmla="*/ 35 h 151"/>
                  <a:gd name="T90" fmla="*/ 126 w 152"/>
                  <a:gd name="T91" fmla="*/ 36 h 151"/>
                  <a:gd name="T92" fmla="*/ 127 w 152"/>
                  <a:gd name="T93" fmla="*/ 37 h 151"/>
                  <a:gd name="T94" fmla="*/ 127 w 152"/>
                  <a:gd name="T95" fmla="*/ 74 h 151"/>
                  <a:gd name="T96" fmla="*/ 126 w 152"/>
                  <a:gd name="T97" fmla="*/ 76 h 151"/>
                  <a:gd name="T98" fmla="*/ 98 w 152"/>
                  <a:gd name="T99" fmla="*/ 88 h 151"/>
                  <a:gd name="T100" fmla="*/ 97 w 152"/>
                  <a:gd name="T101" fmla="*/ 88 h 151"/>
                  <a:gd name="T102" fmla="*/ 99 w 152"/>
                  <a:gd name="T103" fmla="*/ 51 h 151"/>
                  <a:gd name="T104" fmla="*/ 99 w 152"/>
                  <a:gd name="T105" fmla="*/ 83 h 151"/>
                  <a:gd name="T106" fmla="*/ 123 w 152"/>
                  <a:gd name="T107" fmla="*/ 73 h 151"/>
                  <a:gd name="T108" fmla="*/ 123 w 152"/>
                  <a:gd name="T109" fmla="*/ 40 h 151"/>
                  <a:gd name="T110" fmla="*/ 112 w 152"/>
                  <a:gd name="T111" fmla="*/ 44 h 151"/>
                  <a:gd name="T112" fmla="*/ 99 w 152"/>
                  <a:gd name="T113" fmla="*/ 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2" h="151">
                    <a:moveTo>
                      <a:pt x="2" y="151"/>
                    </a:moveTo>
                    <a:cubicBezTo>
                      <a:pt x="2" y="151"/>
                      <a:pt x="1" y="151"/>
                      <a:pt x="1" y="151"/>
                    </a:cubicBezTo>
                    <a:cubicBezTo>
                      <a:pt x="0" y="150"/>
                      <a:pt x="0" y="150"/>
                      <a:pt x="0" y="149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68"/>
                      <a:pt x="0" y="68"/>
                      <a:pt x="1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49" y="0"/>
                      <a:pt x="150" y="0"/>
                      <a:pt x="151" y="0"/>
                    </a:cubicBezTo>
                    <a:cubicBezTo>
                      <a:pt x="151" y="1"/>
                      <a:pt x="152" y="1"/>
                      <a:pt x="152" y="2"/>
                    </a:cubicBezTo>
                    <a:cubicBezTo>
                      <a:pt x="152" y="82"/>
                      <a:pt x="152" y="82"/>
                      <a:pt x="152" y="82"/>
                    </a:cubicBezTo>
                    <a:cubicBezTo>
                      <a:pt x="152" y="82"/>
                      <a:pt x="151" y="82"/>
                      <a:pt x="151" y="83"/>
                    </a:cubicBezTo>
                    <a:cubicBezTo>
                      <a:pt x="151" y="83"/>
                      <a:pt x="151" y="83"/>
                      <a:pt x="150" y="84"/>
                    </a:cubicBezTo>
                    <a:cubicBezTo>
                      <a:pt x="3" y="151"/>
                      <a:pt x="3" y="151"/>
                      <a:pt x="3" y="151"/>
                    </a:cubicBezTo>
                    <a:cubicBezTo>
                      <a:pt x="2" y="151"/>
                      <a:pt x="2" y="151"/>
                      <a:pt x="2" y="151"/>
                    </a:cubicBezTo>
                    <a:close/>
                    <a:moveTo>
                      <a:pt x="4" y="70"/>
                    </a:moveTo>
                    <a:cubicBezTo>
                      <a:pt x="4" y="146"/>
                      <a:pt x="4" y="146"/>
                      <a:pt x="4" y="146"/>
                    </a:cubicBezTo>
                    <a:cubicBezTo>
                      <a:pt x="148" y="80"/>
                      <a:pt x="148" y="80"/>
                      <a:pt x="148" y="80"/>
                    </a:cubicBezTo>
                    <a:cubicBezTo>
                      <a:pt x="148" y="5"/>
                      <a:pt x="148" y="5"/>
                      <a:pt x="148" y="5"/>
                    </a:cubicBezTo>
                    <a:lnTo>
                      <a:pt x="4" y="70"/>
                    </a:lnTo>
                    <a:close/>
                    <a:moveTo>
                      <a:pt x="36" y="117"/>
                    </a:moveTo>
                    <a:cubicBezTo>
                      <a:pt x="36" y="117"/>
                      <a:pt x="35" y="117"/>
                      <a:pt x="35" y="117"/>
                    </a:cubicBezTo>
                    <a:cubicBezTo>
                      <a:pt x="34" y="117"/>
                      <a:pt x="34" y="116"/>
                      <a:pt x="34" y="115"/>
                    </a:cubicBezTo>
                    <a:cubicBezTo>
                      <a:pt x="34" y="79"/>
                      <a:pt x="34" y="79"/>
                      <a:pt x="34" y="79"/>
                    </a:cubicBezTo>
                    <a:cubicBezTo>
                      <a:pt x="34" y="78"/>
                      <a:pt x="34" y="77"/>
                      <a:pt x="35" y="77"/>
                    </a:cubicBezTo>
                    <a:cubicBezTo>
                      <a:pt x="39" y="74"/>
                      <a:pt x="44" y="71"/>
                      <a:pt x="49" y="69"/>
                    </a:cubicBezTo>
                    <a:cubicBezTo>
                      <a:pt x="54" y="67"/>
                      <a:pt x="59" y="65"/>
                      <a:pt x="63" y="64"/>
                    </a:cubicBezTo>
                    <a:cubicBezTo>
                      <a:pt x="64" y="64"/>
                      <a:pt x="64" y="64"/>
                      <a:pt x="65" y="65"/>
                    </a:cubicBezTo>
                    <a:cubicBezTo>
                      <a:pt x="65" y="65"/>
                      <a:pt x="66" y="66"/>
                      <a:pt x="66" y="66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66" y="104"/>
                      <a:pt x="65" y="104"/>
                      <a:pt x="64" y="105"/>
                    </a:cubicBezTo>
                    <a:cubicBezTo>
                      <a:pt x="37" y="117"/>
                      <a:pt x="37" y="117"/>
                      <a:pt x="37" y="117"/>
                    </a:cubicBezTo>
                    <a:cubicBezTo>
                      <a:pt x="37" y="117"/>
                      <a:pt x="36" y="117"/>
                      <a:pt x="36" y="117"/>
                    </a:cubicBezTo>
                    <a:close/>
                    <a:moveTo>
                      <a:pt x="38" y="80"/>
                    </a:moveTo>
                    <a:cubicBezTo>
                      <a:pt x="38" y="112"/>
                      <a:pt x="38" y="112"/>
                      <a:pt x="38" y="112"/>
                    </a:cubicBezTo>
                    <a:cubicBezTo>
                      <a:pt x="62" y="102"/>
                      <a:pt x="62" y="102"/>
                      <a:pt x="62" y="102"/>
                    </a:cubicBezTo>
                    <a:cubicBezTo>
                      <a:pt x="62" y="69"/>
                      <a:pt x="62" y="69"/>
                      <a:pt x="62" y="69"/>
                    </a:cubicBezTo>
                    <a:cubicBezTo>
                      <a:pt x="58" y="70"/>
                      <a:pt x="54" y="71"/>
                      <a:pt x="51" y="73"/>
                    </a:cubicBezTo>
                    <a:cubicBezTo>
                      <a:pt x="46" y="75"/>
                      <a:pt x="42" y="77"/>
                      <a:pt x="38" y="80"/>
                    </a:cubicBezTo>
                    <a:close/>
                    <a:moveTo>
                      <a:pt x="97" y="88"/>
                    </a:moveTo>
                    <a:cubicBezTo>
                      <a:pt x="97" y="88"/>
                      <a:pt x="97" y="88"/>
                      <a:pt x="96" y="88"/>
                    </a:cubicBezTo>
                    <a:cubicBezTo>
                      <a:pt x="96" y="88"/>
                      <a:pt x="95" y="87"/>
                      <a:pt x="95" y="86"/>
                    </a:cubicBezTo>
                    <a:cubicBezTo>
                      <a:pt x="95" y="50"/>
                      <a:pt x="95" y="50"/>
                      <a:pt x="95" y="50"/>
                    </a:cubicBezTo>
                    <a:cubicBezTo>
                      <a:pt x="95" y="49"/>
                      <a:pt x="96" y="48"/>
                      <a:pt x="96" y="48"/>
                    </a:cubicBezTo>
                    <a:cubicBezTo>
                      <a:pt x="100" y="45"/>
                      <a:pt x="105" y="42"/>
                      <a:pt x="110" y="40"/>
                    </a:cubicBezTo>
                    <a:cubicBezTo>
                      <a:pt x="115" y="38"/>
                      <a:pt x="120" y="36"/>
                      <a:pt x="124" y="35"/>
                    </a:cubicBezTo>
                    <a:cubicBezTo>
                      <a:pt x="125" y="35"/>
                      <a:pt x="126" y="35"/>
                      <a:pt x="126" y="36"/>
                    </a:cubicBezTo>
                    <a:cubicBezTo>
                      <a:pt x="127" y="36"/>
                      <a:pt x="127" y="37"/>
                      <a:pt x="127" y="37"/>
                    </a:cubicBezTo>
                    <a:cubicBezTo>
                      <a:pt x="127" y="74"/>
                      <a:pt x="127" y="74"/>
                      <a:pt x="127" y="74"/>
                    </a:cubicBezTo>
                    <a:cubicBezTo>
                      <a:pt x="127" y="75"/>
                      <a:pt x="126" y="75"/>
                      <a:pt x="126" y="76"/>
                    </a:cubicBezTo>
                    <a:cubicBezTo>
                      <a:pt x="98" y="88"/>
                      <a:pt x="98" y="88"/>
                      <a:pt x="98" y="88"/>
                    </a:cubicBezTo>
                    <a:cubicBezTo>
                      <a:pt x="98" y="88"/>
                      <a:pt x="98" y="88"/>
                      <a:pt x="97" y="88"/>
                    </a:cubicBezTo>
                    <a:close/>
                    <a:moveTo>
                      <a:pt x="99" y="51"/>
                    </a:moveTo>
                    <a:cubicBezTo>
                      <a:pt x="99" y="83"/>
                      <a:pt x="99" y="83"/>
                      <a:pt x="99" y="83"/>
                    </a:cubicBezTo>
                    <a:cubicBezTo>
                      <a:pt x="123" y="73"/>
                      <a:pt x="123" y="73"/>
                      <a:pt x="123" y="73"/>
                    </a:cubicBezTo>
                    <a:cubicBezTo>
                      <a:pt x="123" y="40"/>
                      <a:pt x="123" y="40"/>
                      <a:pt x="123" y="40"/>
                    </a:cubicBezTo>
                    <a:cubicBezTo>
                      <a:pt x="119" y="41"/>
                      <a:pt x="116" y="42"/>
                      <a:pt x="112" y="44"/>
                    </a:cubicBezTo>
                    <a:cubicBezTo>
                      <a:pt x="107" y="46"/>
                      <a:pt x="103" y="48"/>
                      <a:pt x="99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30"/>
              <p:cNvSpPr>
                <a:spLocks noEditPoints="1"/>
              </p:cNvSpPr>
              <p:nvPr/>
            </p:nvSpPr>
            <p:spPr bwMode="gray">
              <a:xfrm>
                <a:off x="4118" y="2311"/>
                <a:ext cx="361" cy="342"/>
              </a:xfrm>
              <a:custGeom>
                <a:avLst/>
                <a:gdLst>
                  <a:gd name="T0" fmla="*/ 2 w 152"/>
                  <a:gd name="T1" fmla="*/ 144 h 144"/>
                  <a:gd name="T2" fmla="*/ 1 w 152"/>
                  <a:gd name="T3" fmla="*/ 144 h 144"/>
                  <a:gd name="T4" fmla="*/ 0 w 152"/>
                  <a:gd name="T5" fmla="*/ 142 h 144"/>
                  <a:gd name="T6" fmla="*/ 0 w 152"/>
                  <a:gd name="T7" fmla="*/ 70 h 144"/>
                  <a:gd name="T8" fmla="*/ 1 w 152"/>
                  <a:gd name="T9" fmla="*/ 68 h 144"/>
                  <a:gd name="T10" fmla="*/ 1 w 152"/>
                  <a:gd name="T11" fmla="*/ 68 h 144"/>
                  <a:gd name="T12" fmla="*/ 149 w 152"/>
                  <a:gd name="T13" fmla="*/ 1 h 144"/>
                  <a:gd name="T14" fmla="*/ 151 w 152"/>
                  <a:gd name="T15" fmla="*/ 1 h 144"/>
                  <a:gd name="T16" fmla="*/ 152 w 152"/>
                  <a:gd name="T17" fmla="*/ 2 h 144"/>
                  <a:gd name="T18" fmla="*/ 152 w 152"/>
                  <a:gd name="T19" fmla="*/ 75 h 144"/>
                  <a:gd name="T20" fmla="*/ 151 w 152"/>
                  <a:gd name="T21" fmla="*/ 76 h 144"/>
                  <a:gd name="T22" fmla="*/ 150 w 152"/>
                  <a:gd name="T23" fmla="*/ 77 h 144"/>
                  <a:gd name="T24" fmla="*/ 3 w 152"/>
                  <a:gd name="T25" fmla="*/ 144 h 144"/>
                  <a:gd name="T26" fmla="*/ 2 w 152"/>
                  <a:gd name="T27" fmla="*/ 144 h 144"/>
                  <a:gd name="T28" fmla="*/ 4 w 152"/>
                  <a:gd name="T29" fmla="*/ 71 h 144"/>
                  <a:gd name="T30" fmla="*/ 4 w 152"/>
                  <a:gd name="T31" fmla="*/ 139 h 144"/>
                  <a:gd name="T32" fmla="*/ 148 w 152"/>
                  <a:gd name="T33" fmla="*/ 74 h 144"/>
                  <a:gd name="T34" fmla="*/ 148 w 152"/>
                  <a:gd name="T35" fmla="*/ 6 h 144"/>
                  <a:gd name="T36" fmla="*/ 4 w 152"/>
                  <a:gd name="T37" fmla="*/ 71 h 144"/>
                  <a:gd name="T38" fmla="*/ 36 w 152"/>
                  <a:gd name="T39" fmla="*/ 109 h 144"/>
                  <a:gd name="T40" fmla="*/ 35 w 152"/>
                  <a:gd name="T41" fmla="*/ 108 h 144"/>
                  <a:gd name="T42" fmla="*/ 34 w 152"/>
                  <a:gd name="T43" fmla="*/ 107 h 144"/>
                  <a:gd name="T44" fmla="*/ 34 w 152"/>
                  <a:gd name="T45" fmla="*/ 70 h 144"/>
                  <a:gd name="T46" fmla="*/ 35 w 152"/>
                  <a:gd name="T47" fmla="*/ 68 h 144"/>
                  <a:gd name="T48" fmla="*/ 49 w 152"/>
                  <a:gd name="T49" fmla="*/ 60 h 144"/>
                  <a:gd name="T50" fmla="*/ 63 w 152"/>
                  <a:gd name="T51" fmla="*/ 56 h 144"/>
                  <a:gd name="T52" fmla="*/ 65 w 152"/>
                  <a:gd name="T53" fmla="*/ 56 h 144"/>
                  <a:gd name="T54" fmla="*/ 66 w 152"/>
                  <a:gd name="T55" fmla="*/ 58 h 144"/>
                  <a:gd name="T56" fmla="*/ 66 w 152"/>
                  <a:gd name="T57" fmla="*/ 94 h 144"/>
                  <a:gd name="T58" fmla="*/ 64 w 152"/>
                  <a:gd name="T59" fmla="*/ 96 h 144"/>
                  <a:gd name="T60" fmla="*/ 37 w 152"/>
                  <a:gd name="T61" fmla="*/ 109 h 144"/>
                  <a:gd name="T62" fmla="*/ 36 w 152"/>
                  <a:gd name="T63" fmla="*/ 109 h 144"/>
                  <a:gd name="T64" fmla="*/ 38 w 152"/>
                  <a:gd name="T65" fmla="*/ 71 h 144"/>
                  <a:gd name="T66" fmla="*/ 38 w 152"/>
                  <a:gd name="T67" fmla="*/ 104 h 144"/>
                  <a:gd name="T68" fmla="*/ 62 w 152"/>
                  <a:gd name="T69" fmla="*/ 93 h 144"/>
                  <a:gd name="T70" fmla="*/ 62 w 152"/>
                  <a:gd name="T71" fmla="*/ 60 h 144"/>
                  <a:gd name="T72" fmla="*/ 51 w 152"/>
                  <a:gd name="T73" fmla="*/ 64 h 144"/>
                  <a:gd name="T74" fmla="*/ 38 w 152"/>
                  <a:gd name="T75" fmla="*/ 71 h 144"/>
                  <a:gd name="T76" fmla="*/ 97 w 152"/>
                  <a:gd name="T77" fmla="*/ 80 h 144"/>
                  <a:gd name="T78" fmla="*/ 96 w 152"/>
                  <a:gd name="T79" fmla="*/ 79 h 144"/>
                  <a:gd name="T80" fmla="*/ 95 w 152"/>
                  <a:gd name="T81" fmla="*/ 78 h 144"/>
                  <a:gd name="T82" fmla="*/ 95 w 152"/>
                  <a:gd name="T83" fmla="*/ 41 h 144"/>
                  <a:gd name="T84" fmla="*/ 96 w 152"/>
                  <a:gd name="T85" fmla="*/ 39 h 144"/>
                  <a:gd name="T86" fmla="*/ 110 w 152"/>
                  <a:gd name="T87" fmla="*/ 32 h 144"/>
                  <a:gd name="T88" fmla="*/ 124 w 152"/>
                  <a:gd name="T89" fmla="*/ 27 h 144"/>
                  <a:gd name="T90" fmla="*/ 126 w 152"/>
                  <a:gd name="T91" fmla="*/ 27 h 144"/>
                  <a:gd name="T92" fmla="*/ 127 w 152"/>
                  <a:gd name="T93" fmla="*/ 29 h 144"/>
                  <a:gd name="T94" fmla="*/ 127 w 152"/>
                  <a:gd name="T95" fmla="*/ 65 h 144"/>
                  <a:gd name="T96" fmla="*/ 126 w 152"/>
                  <a:gd name="T97" fmla="*/ 67 h 144"/>
                  <a:gd name="T98" fmla="*/ 98 w 152"/>
                  <a:gd name="T99" fmla="*/ 80 h 144"/>
                  <a:gd name="T100" fmla="*/ 97 w 152"/>
                  <a:gd name="T101" fmla="*/ 80 h 144"/>
                  <a:gd name="T102" fmla="*/ 99 w 152"/>
                  <a:gd name="T103" fmla="*/ 42 h 144"/>
                  <a:gd name="T104" fmla="*/ 99 w 152"/>
                  <a:gd name="T105" fmla="*/ 75 h 144"/>
                  <a:gd name="T106" fmla="*/ 123 w 152"/>
                  <a:gd name="T107" fmla="*/ 64 h 144"/>
                  <a:gd name="T108" fmla="*/ 123 w 152"/>
                  <a:gd name="T109" fmla="*/ 31 h 144"/>
                  <a:gd name="T110" fmla="*/ 112 w 152"/>
                  <a:gd name="T111" fmla="*/ 35 h 144"/>
                  <a:gd name="T112" fmla="*/ 99 w 152"/>
                  <a:gd name="T113" fmla="*/ 4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2" h="144">
                    <a:moveTo>
                      <a:pt x="2" y="144"/>
                    </a:moveTo>
                    <a:cubicBezTo>
                      <a:pt x="2" y="144"/>
                      <a:pt x="1" y="144"/>
                      <a:pt x="1" y="144"/>
                    </a:cubicBezTo>
                    <a:cubicBezTo>
                      <a:pt x="0" y="143"/>
                      <a:pt x="0" y="143"/>
                      <a:pt x="0" y="142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69"/>
                      <a:pt x="0" y="68"/>
                      <a:pt x="1" y="68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149" y="1"/>
                      <a:pt x="149" y="1"/>
                      <a:pt x="149" y="1"/>
                    </a:cubicBezTo>
                    <a:cubicBezTo>
                      <a:pt x="149" y="0"/>
                      <a:pt x="150" y="0"/>
                      <a:pt x="151" y="1"/>
                    </a:cubicBezTo>
                    <a:cubicBezTo>
                      <a:pt x="151" y="1"/>
                      <a:pt x="152" y="2"/>
                      <a:pt x="152" y="2"/>
                    </a:cubicBezTo>
                    <a:cubicBezTo>
                      <a:pt x="152" y="75"/>
                      <a:pt x="152" y="75"/>
                      <a:pt x="152" y="75"/>
                    </a:cubicBezTo>
                    <a:cubicBezTo>
                      <a:pt x="152" y="75"/>
                      <a:pt x="151" y="76"/>
                      <a:pt x="151" y="76"/>
                    </a:cubicBezTo>
                    <a:cubicBezTo>
                      <a:pt x="151" y="76"/>
                      <a:pt x="151" y="77"/>
                      <a:pt x="150" y="77"/>
                    </a:cubicBezTo>
                    <a:cubicBezTo>
                      <a:pt x="3" y="144"/>
                      <a:pt x="3" y="144"/>
                      <a:pt x="3" y="144"/>
                    </a:cubicBezTo>
                    <a:cubicBezTo>
                      <a:pt x="2" y="144"/>
                      <a:pt x="2" y="144"/>
                      <a:pt x="2" y="144"/>
                    </a:cubicBezTo>
                    <a:close/>
                    <a:moveTo>
                      <a:pt x="4" y="71"/>
                    </a:moveTo>
                    <a:cubicBezTo>
                      <a:pt x="4" y="139"/>
                      <a:pt x="4" y="139"/>
                      <a:pt x="4" y="139"/>
                    </a:cubicBezTo>
                    <a:cubicBezTo>
                      <a:pt x="148" y="74"/>
                      <a:pt x="148" y="74"/>
                      <a:pt x="148" y="74"/>
                    </a:cubicBezTo>
                    <a:cubicBezTo>
                      <a:pt x="148" y="6"/>
                      <a:pt x="148" y="6"/>
                      <a:pt x="148" y="6"/>
                    </a:cubicBezTo>
                    <a:lnTo>
                      <a:pt x="4" y="71"/>
                    </a:lnTo>
                    <a:close/>
                    <a:moveTo>
                      <a:pt x="36" y="109"/>
                    </a:moveTo>
                    <a:cubicBezTo>
                      <a:pt x="36" y="109"/>
                      <a:pt x="35" y="109"/>
                      <a:pt x="35" y="108"/>
                    </a:cubicBezTo>
                    <a:cubicBezTo>
                      <a:pt x="34" y="108"/>
                      <a:pt x="34" y="107"/>
                      <a:pt x="34" y="107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4" y="69"/>
                      <a:pt x="34" y="69"/>
                      <a:pt x="35" y="68"/>
                    </a:cubicBezTo>
                    <a:cubicBezTo>
                      <a:pt x="39" y="65"/>
                      <a:pt x="44" y="63"/>
                      <a:pt x="49" y="60"/>
                    </a:cubicBezTo>
                    <a:cubicBezTo>
                      <a:pt x="54" y="58"/>
                      <a:pt x="59" y="57"/>
                      <a:pt x="63" y="56"/>
                    </a:cubicBezTo>
                    <a:cubicBezTo>
                      <a:pt x="64" y="56"/>
                      <a:pt x="64" y="56"/>
                      <a:pt x="65" y="56"/>
                    </a:cubicBezTo>
                    <a:cubicBezTo>
                      <a:pt x="65" y="56"/>
                      <a:pt x="66" y="57"/>
                      <a:pt x="66" y="58"/>
                    </a:cubicBezTo>
                    <a:cubicBezTo>
                      <a:pt x="66" y="94"/>
                      <a:pt x="66" y="94"/>
                      <a:pt x="66" y="94"/>
                    </a:cubicBezTo>
                    <a:cubicBezTo>
                      <a:pt x="66" y="95"/>
                      <a:pt x="65" y="96"/>
                      <a:pt x="64" y="96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7" y="109"/>
                      <a:pt x="36" y="109"/>
                      <a:pt x="36" y="109"/>
                    </a:cubicBezTo>
                    <a:close/>
                    <a:moveTo>
                      <a:pt x="38" y="71"/>
                    </a:moveTo>
                    <a:cubicBezTo>
                      <a:pt x="38" y="104"/>
                      <a:pt x="38" y="104"/>
                      <a:pt x="38" y="104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62" y="60"/>
                      <a:pt x="62" y="60"/>
                      <a:pt x="62" y="60"/>
                    </a:cubicBezTo>
                    <a:cubicBezTo>
                      <a:pt x="58" y="61"/>
                      <a:pt x="54" y="62"/>
                      <a:pt x="51" y="64"/>
                    </a:cubicBezTo>
                    <a:cubicBezTo>
                      <a:pt x="46" y="66"/>
                      <a:pt x="42" y="69"/>
                      <a:pt x="38" y="71"/>
                    </a:cubicBezTo>
                    <a:close/>
                    <a:moveTo>
                      <a:pt x="97" y="80"/>
                    </a:moveTo>
                    <a:cubicBezTo>
                      <a:pt x="97" y="80"/>
                      <a:pt x="97" y="80"/>
                      <a:pt x="96" y="79"/>
                    </a:cubicBezTo>
                    <a:cubicBezTo>
                      <a:pt x="96" y="79"/>
                      <a:pt x="95" y="78"/>
                      <a:pt x="95" y="78"/>
                    </a:cubicBezTo>
                    <a:cubicBezTo>
                      <a:pt x="95" y="41"/>
                      <a:pt x="95" y="41"/>
                      <a:pt x="95" y="41"/>
                    </a:cubicBezTo>
                    <a:cubicBezTo>
                      <a:pt x="95" y="40"/>
                      <a:pt x="96" y="40"/>
                      <a:pt x="96" y="39"/>
                    </a:cubicBezTo>
                    <a:cubicBezTo>
                      <a:pt x="100" y="36"/>
                      <a:pt x="105" y="34"/>
                      <a:pt x="110" y="32"/>
                    </a:cubicBezTo>
                    <a:cubicBezTo>
                      <a:pt x="115" y="29"/>
                      <a:pt x="120" y="28"/>
                      <a:pt x="124" y="27"/>
                    </a:cubicBezTo>
                    <a:cubicBezTo>
                      <a:pt x="125" y="27"/>
                      <a:pt x="126" y="27"/>
                      <a:pt x="126" y="27"/>
                    </a:cubicBezTo>
                    <a:cubicBezTo>
                      <a:pt x="127" y="28"/>
                      <a:pt x="127" y="28"/>
                      <a:pt x="127" y="29"/>
                    </a:cubicBezTo>
                    <a:cubicBezTo>
                      <a:pt x="127" y="65"/>
                      <a:pt x="127" y="65"/>
                      <a:pt x="127" y="65"/>
                    </a:cubicBezTo>
                    <a:cubicBezTo>
                      <a:pt x="127" y="66"/>
                      <a:pt x="126" y="67"/>
                      <a:pt x="126" y="67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8" y="80"/>
                      <a:pt x="98" y="80"/>
                      <a:pt x="97" y="80"/>
                    </a:cubicBezTo>
                    <a:close/>
                    <a:moveTo>
                      <a:pt x="99" y="42"/>
                    </a:moveTo>
                    <a:cubicBezTo>
                      <a:pt x="99" y="75"/>
                      <a:pt x="99" y="75"/>
                      <a:pt x="99" y="75"/>
                    </a:cubicBezTo>
                    <a:cubicBezTo>
                      <a:pt x="123" y="64"/>
                      <a:pt x="123" y="64"/>
                      <a:pt x="123" y="64"/>
                    </a:cubicBezTo>
                    <a:cubicBezTo>
                      <a:pt x="123" y="31"/>
                      <a:pt x="123" y="31"/>
                      <a:pt x="123" y="31"/>
                    </a:cubicBezTo>
                    <a:cubicBezTo>
                      <a:pt x="119" y="32"/>
                      <a:pt x="116" y="33"/>
                      <a:pt x="112" y="35"/>
                    </a:cubicBezTo>
                    <a:cubicBezTo>
                      <a:pt x="107" y="37"/>
                      <a:pt x="103" y="40"/>
                      <a:pt x="99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31"/>
              <p:cNvSpPr>
                <a:spLocks/>
              </p:cNvSpPr>
              <p:nvPr/>
            </p:nvSpPr>
            <p:spPr bwMode="gray">
              <a:xfrm>
                <a:off x="3229" y="1824"/>
                <a:ext cx="145" cy="71"/>
              </a:xfrm>
              <a:custGeom>
                <a:avLst/>
                <a:gdLst>
                  <a:gd name="T0" fmla="*/ 59 w 61"/>
                  <a:gd name="T1" fmla="*/ 30 h 30"/>
                  <a:gd name="T2" fmla="*/ 58 w 61"/>
                  <a:gd name="T3" fmla="*/ 30 h 30"/>
                  <a:gd name="T4" fmla="*/ 1 w 61"/>
                  <a:gd name="T5" fmla="*/ 4 h 30"/>
                  <a:gd name="T6" fmla="*/ 0 w 61"/>
                  <a:gd name="T7" fmla="*/ 2 h 30"/>
                  <a:gd name="T8" fmla="*/ 0 w 61"/>
                  <a:gd name="T9" fmla="*/ 1 h 30"/>
                  <a:gd name="T10" fmla="*/ 2 w 61"/>
                  <a:gd name="T11" fmla="*/ 0 h 30"/>
                  <a:gd name="T12" fmla="*/ 60 w 61"/>
                  <a:gd name="T13" fmla="*/ 26 h 30"/>
                  <a:gd name="T14" fmla="*/ 61 w 61"/>
                  <a:gd name="T15" fmla="*/ 28 h 30"/>
                  <a:gd name="T16" fmla="*/ 61 w 61"/>
                  <a:gd name="T17" fmla="*/ 29 h 30"/>
                  <a:gd name="T18" fmla="*/ 59 w 61"/>
                  <a:gd name="T1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1" h="30">
                    <a:moveTo>
                      <a:pt x="59" y="30"/>
                    </a:moveTo>
                    <a:cubicBezTo>
                      <a:pt x="59" y="30"/>
                      <a:pt x="59" y="30"/>
                      <a:pt x="58" y="30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60" y="26"/>
                      <a:pt x="60" y="26"/>
                      <a:pt x="60" y="26"/>
                    </a:cubicBezTo>
                    <a:cubicBezTo>
                      <a:pt x="61" y="26"/>
                      <a:pt x="61" y="27"/>
                      <a:pt x="61" y="28"/>
                    </a:cubicBezTo>
                    <a:cubicBezTo>
                      <a:pt x="61" y="28"/>
                      <a:pt x="61" y="28"/>
                      <a:pt x="61" y="29"/>
                    </a:cubicBezTo>
                    <a:cubicBezTo>
                      <a:pt x="61" y="29"/>
                      <a:pt x="60" y="30"/>
                      <a:pt x="5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32"/>
              <p:cNvSpPr>
                <a:spLocks/>
              </p:cNvSpPr>
              <p:nvPr/>
            </p:nvSpPr>
            <p:spPr bwMode="gray">
              <a:xfrm>
                <a:off x="3989" y="2111"/>
                <a:ext cx="15" cy="12"/>
              </a:xfrm>
              <a:custGeom>
                <a:avLst/>
                <a:gdLst>
                  <a:gd name="T0" fmla="*/ 4 w 6"/>
                  <a:gd name="T1" fmla="*/ 5 h 5"/>
                  <a:gd name="T2" fmla="*/ 3 w 6"/>
                  <a:gd name="T3" fmla="*/ 5 h 5"/>
                  <a:gd name="T4" fmla="*/ 0 w 6"/>
                  <a:gd name="T5" fmla="*/ 4 h 5"/>
                  <a:gd name="T6" fmla="*/ 0 w 6"/>
                  <a:gd name="T7" fmla="*/ 2 h 5"/>
                  <a:gd name="T8" fmla="*/ 0 w 6"/>
                  <a:gd name="T9" fmla="*/ 1 h 5"/>
                  <a:gd name="T10" fmla="*/ 3 w 6"/>
                  <a:gd name="T11" fmla="*/ 0 h 5"/>
                  <a:gd name="T12" fmla="*/ 5 w 6"/>
                  <a:gd name="T13" fmla="*/ 2 h 5"/>
                  <a:gd name="T14" fmla="*/ 6 w 6"/>
                  <a:gd name="T15" fmla="*/ 3 h 5"/>
                  <a:gd name="T16" fmla="*/ 5 w 6"/>
                  <a:gd name="T17" fmla="*/ 5 h 5"/>
                  <a:gd name="T18" fmla="*/ 4 w 6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5">
                    <a:moveTo>
                      <a:pt x="4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0" y="0"/>
                      <a:pt x="2" y="0"/>
                      <a:pt x="3" y="0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6" y="3"/>
                      <a:pt x="6" y="3"/>
                    </a:cubicBezTo>
                    <a:cubicBezTo>
                      <a:pt x="6" y="4"/>
                      <a:pt x="6" y="4"/>
                      <a:pt x="5" y="5"/>
                    </a:cubicBezTo>
                    <a:cubicBezTo>
                      <a:pt x="5" y="5"/>
                      <a:pt x="4" y="5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33"/>
              <p:cNvSpPr>
                <a:spLocks/>
              </p:cNvSpPr>
              <p:nvPr/>
            </p:nvSpPr>
            <p:spPr bwMode="gray">
              <a:xfrm>
                <a:off x="4118" y="2076"/>
                <a:ext cx="335" cy="157"/>
              </a:xfrm>
              <a:custGeom>
                <a:avLst/>
                <a:gdLst>
                  <a:gd name="T0" fmla="*/ 2 w 141"/>
                  <a:gd name="T1" fmla="*/ 66 h 66"/>
                  <a:gd name="T2" fmla="*/ 0 w 141"/>
                  <a:gd name="T3" fmla="*/ 65 h 66"/>
                  <a:gd name="T4" fmla="*/ 1 w 141"/>
                  <a:gd name="T5" fmla="*/ 62 h 66"/>
                  <a:gd name="T6" fmla="*/ 2 w 141"/>
                  <a:gd name="T7" fmla="*/ 62 h 66"/>
                  <a:gd name="T8" fmla="*/ 138 w 141"/>
                  <a:gd name="T9" fmla="*/ 0 h 66"/>
                  <a:gd name="T10" fmla="*/ 140 w 141"/>
                  <a:gd name="T11" fmla="*/ 1 h 66"/>
                  <a:gd name="T12" fmla="*/ 139 w 141"/>
                  <a:gd name="T13" fmla="*/ 4 h 66"/>
                  <a:gd name="T14" fmla="*/ 3 w 141"/>
                  <a:gd name="T15" fmla="*/ 66 h 66"/>
                  <a:gd name="T16" fmla="*/ 2 w 141"/>
                  <a:gd name="T17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1" h="66">
                    <a:moveTo>
                      <a:pt x="2" y="66"/>
                    </a:moveTo>
                    <a:cubicBezTo>
                      <a:pt x="1" y="66"/>
                      <a:pt x="0" y="66"/>
                      <a:pt x="0" y="65"/>
                    </a:cubicBezTo>
                    <a:cubicBezTo>
                      <a:pt x="0" y="64"/>
                      <a:pt x="0" y="63"/>
                      <a:pt x="1" y="6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38" y="0"/>
                      <a:pt x="138" y="0"/>
                      <a:pt x="138" y="0"/>
                    </a:cubicBezTo>
                    <a:cubicBezTo>
                      <a:pt x="139" y="0"/>
                      <a:pt x="140" y="0"/>
                      <a:pt x="140" y="1"/>
                    </a:cubicBezTo>
                    <a:cubicBezTo>
                      <a:pt x="141" y="2"/>
                      <a:pt x="140" y="3"/>
                      <a:pt x="139" y="4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2" y="66"/>
                      <a:pt x="2" y="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34"/>
              <p:cNvSpPr>
                <a:spLocks noEditPoints="1"/>
              </p:cNvSpPr>
              <p:nvPr/>
            </p:nvSpPr>
            <p:spPr bwMode="gray">
              <a:xfrm>
                <a:off x="3248" y="1676"/>
                <a:ext cx="1183" cy="540"/>
              </a:xfrm>
              <a:custGeom>
                <a:avLst/>
                <a:gdLst>
                  <a:gd name="T0" fmla="*/ 367 w 498"/>
                  <a:gd name="T1" fmla="*/ 227 h 227"/>
                  <a:gd name="T2" fmla="*/ 318 w 498"/>
                  <a:gd name="T3" fmla="*/ 204 h 227"/>
                  <a:gd name="T4" fmla="*/ 315 w 498"/>
                  <a:gd name="T5" fmla="*/ 201 h 227"/>
                  <a:gd name="T6" fmla="*/ 318 w 498"/>
                  <a:gd name="T7" fmla="*/ 200 h 227"/>
                  <a:gd name="T8" fmla="*/ 330 w 498"/>
                  <a:gd name="T9" fmla="*/ 188 h 227"/>
                  <a:gd name="T10" fmla="*/ 320 w 498"/>
                  <a:gd name="T11" fmla="*/ 183 h 227"/>
                  <a:gd name="T12" fmla="*/ 200 w 498"/>
                  <a:gd name="T13" fmla="*/ 102 h 227"/>
                  <a:gd name="T14" fmla="*/ 83 w 498"/>
                  <a:gd name="T15" fmla="*/ 77 h 227"/>
                  <a:gd name="T16" fmla="*/ 75 w 498"/>
                  <a:gd name="T17" fmla="*/ 74 h 227"/>
                  <a:gd name="T18" fmla="*/ 50 w 498"/>
                  <a:gd name="T19" fmla="*/ 84 h 227"/>
                  <a:gd name="T20" fmla="*/ 0 w 498"/>
                  <a:gd name="T21" fmla="*/ 60 h 227"/>
                  <a:gd name="T22" fmla="*/ 1 w 498"/>
                  <a:gd name="T23" fmla="*/ 58 h 227"/>
                  <a:gd name="T24" fmla="*/ 131 w 498"/>
                  <a:gd name="T25" fmla="*/ 0 h 227"/>
                  <a:gd name="T26" fmla="*/ 498 w 498"/>
                  <a:gd name="T27" fmla="*/ 166 h 227"/>
                  <a:gd name="T28" fmla="*/ 369 w 498"/>
                  <a:gd name="T29" fmla="*/ 227 h 227"/>
                  <a:gd name="T30" fmla="*/ 323 w 498"/>
                  <a:gd name="T31" fmla="*/ 202 h 227"/>
                  <a:gd name="T32" fmla="*/ 492 w 498"/>
                  <a:gd name="T33" fmla="*/ 166 h 227"/>
                  <a:gd name="T34" fmla="*/ 6 w 498"/>
                  <a:gd name="T35" fmla="*/ 60 h 227"/>
                  <a:gd name="T36" fmla="*/ 75 w 498"/>
                  <a:gd name="T37" fmla="*/ 70 h 227"/>
                  <a:gd name="T38" fmla="*/ 84 w 498"/>
                  <a:gd name="T39" fmla="*/ 73 h 227"/>
                  <a:gd name="T40" fmla="*/ 202 w 498"/>
                  <a:gd name="T41" fmla="*/ 98 h 227"/>
                  <a:gd name="T42" fmla="*/ 323 w 498"/>
                  <a:gd name="T43" fmla="*/ 180 h 227"/>
                  <a:gd name="T44" fmla="*/ 333 w 498"/>
                  <a:gd name="T45" fmla="*/ 185 h 227"/>
                  <a:gd name="T46" fmla="*/ 334 w 498"/>
                  <a:gd name="T47" fmla="*/ 196 h 227"/>
                  <a:gd name="T48" fmla="*/ 323 w 498"/>
                  <a:gd name="T49" fmla="*/ 202 h 227"/>
                  <a:gd name="T50" fmla="*/ 430 w 498"/>
                  <a:gd name="T51" fmla="*/ 188 h 227"/>
                  <a:gd name="T52" fmla="*/ 414 w 498"/>
                  <a:gd name="T53" fmla="*/ 180 h 227"/>
                  <a:gd name="T54" fmla="*/ 416 w 498"/>
                  <a:gd name="T55" fmla="*/ 171 h 227"/>
                  <a:gd name="T56" fmla="*/ 432 w 498"/>
                  <a:gd name="T57" fmla="*/ 165 h 227"/>
                  <a:gd name="T58" fmla="*/ 439 w 498"/>
                  <a:gd name="T59" fmla="*/ 161 h 227"/>
                  <a:gd name="T60" fmla="*/ 455 w 498"/>
                  <a:gd name="T61" fmla="*/ 153 h 227"/>
                  <a:gd name="T62" fmla="*/ 471 w 498"/>
                  <a:gd name="T63" fmla="*/ 160 h 227"/>
                  <a:gd name="T64" fmla="*/ 473 w 498"/>
                  <a:gd name="T65" fmla="*/ 168 h 227"/>
                  <a:gd name="T66" fmla="*/ 457 w 498"/>
                  <a:gd name="T67" fmla="*/ 177 h 227"/>
                  <a:gd name="T68" fmla="*/ 448 w 498"/>
                  <a:gd name="T69" fmla="*/ 173 h 227"/>
                  <a:gd name="T70" fmla="*/ 446 w 498"/>
                  <a:gd name="T71" fmla="*/ 182 h 227"/>
                  <a:gd name="T72" fmla="*/ 431 w 498"/>
                  <a:gd name="T73" fmla="*/ 189 h 227"/>
                  <a:gd name="T74" fmla="*/ 431 w 498"/>
                  <a:gd name="T75" fmla="*/ 184 h 227"/>
                  <a:gd name="T76" fmla="*/ 444 w 498"/>
                  <a:gd name="T77" fmla="*/ 174 h 227"/>
                  <a:gd name="T78" fmla="*/ 418 w 498"/>
                  <a:gd name="T79" fmla="*/ 174 h 227"/>
                  <a:gd name="T80" fmla="*/ 443 w 498"/>
                  <a:gd name="T81" fmla="*/ 167 h 227"/>
                  <a:gd name="T82" fmla="*/ 469 w 498"/>
                  <a:gd name="T83" fmla="*/ 167 h 227"/>
                  <a:gd name="T84" fmla="*/ 456 w 498"/>
                  <a:gd name="T85" fmla="*/ 157 h 227"/>
                  <a:gd name="T86" fmla="*/ 443 w 498"/>
                  <a:gd name="T87" fmla="*/ 167 h 227"/>
                  <a:gd name="T88" fmla="*/ 106 w 498"/>
                  <a:gd name="T89" fmla="*/ 43 h 227"/>
                  <a:gd name="T90" fmla="*/ 91 w 498"/>
                  <a:gd name="T91" fmla="*/ 34 h 227"/>
                  <a:gd name="T92" fmla="*/ 92 w 498"/>
                  <a:gd name="T93" fmla="*/ 26 h 227"/>
                  <a:gd name="T94" fmla="*/ 108 w 498"/>
                  <a:gd name="T95" fmla="*/ 19 h 227"/>
                  <a:gd name="T96" fmla="*/ 116 w 498"/>
                  <a:gd name="T97" fmla="*/ 16 h 227"/>
                  <a:gd name="T98" fmla="*/ 132 w 498"/>
                  <a:gd name="T99" fmla="*/ 7 h 227"/>
                  <a:gd name="T100" fmla="*/ 148 w 498"/>
                  <a:gd name="T101" fmla="*/ 14 h 227"/>
                  <a:gd name="T102" fmla="*/ 149 w 498"/>
                  <a:gd name="T103" fmla="*/ 23 h 227"/>
                  <a:gd name="T104" fmla="*/ 133 w 498"/>
                  <a:gd name="T105" fmla="*/ 31 h 227"/>
                  <a:gd name="T106" fmla="*/ 124 w 498"/>
                  <a:gd name="T107" fmla="*/ 28 h 227"/>
                  <a:gd name="T108" fmla="*/ 123 w 498"/>
                  <a:gd name="T109" fmla="*/ 36 h 227"/>
                  <a:gd name="T110" fmla="*/ 107 w 498"/>
                  <a:gd name="T111" fmla="*/ 43 h 227"/>
                  <a:gd name="T112" fmla="*/ 107 w 498"/>
                  <a:gd name="T113" fmla="*/ 39 h 227"/>
                  <a:gd name="T114" fmla="*/ 120 w 498"/>
                  <a:gd name="T115" fmla="*/ 29 h 227"/>
                  <a:gd name="T116" fmla="*/ 95 w 498"/>
                  <a:gd name="T117" fmla="*/ 29 h 227"/>
                  <a:gd name="T118" fmla="*/ 120 w 498"/>
                  <a:gd name="T119" fmla="*/ 21 h 227"/>
                  <a:gd name="T120" fmla="*/ 145 w 498"/>
                  <a:gd name="T121" fmla="*/ 21 h 227"/>
                  <a:gd name="T122" fmla="*/ 132 w 498"/>
                  <a:gd name="T123" fmla="*/ 11 h 227"/>
                  <a:gd name="T124" fmla="*/ 120 w 498"/>
                  <a:gd name="T125" fmla="*/ 21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98" h="227">
                    <a:moveTo>
                      <a:pt x="368" y="227"/>
                    </a:moveTo>
                    <a:cubicBezTo>
                      <a:pt x="368" y="227"/>
                      <a:pt x="367" y="227"/>
                      <a:pt x="367" y="227"/>
                    </a:cubicBezTo>
                    <a:cubicBezTo>
                      <a:pt x="318" y="204"/>
                      <a:pt x="318" y="204"/>
                      <a:pt x="318" y="204"/>
                    </a:cubicBezTo>
                    <a:cubicBezTo>
                      <a:pt x="318" y="204"/>
                      <a:pt x="318" y="204"/>
                      <a:pt x="318" y="204"/>
                    </a:cubicBezTo>
                    <a:cubicBezTo>
                      <a:pt x="316" y="203"/>
                      <a:pt x="316" y="203"/>
                      <a:pt x="316" y="203"/>
                    </a:cubicBezTo>
                    <a:cubicBezTo>
                      <a:pt x="315" y="203"/>
                      <a:pt x="314" y="202"/>
                      <a:pt x="315" y="201"/>
                    </a:cubicBezTo>
                    <a:cubicBezTo>
                      <a:pt x="315" y="200"/>
                      <a:pt x="316" y="199"/>
                      <a:pt x="317" y="200"/>
                    </a:cubicBezTo>
                    <a:cubicBezTo>
                      <a:pt x="318" y="200"/>
                      <a:pt x="318" y="200"/>
                      <a:pt x="318" y="200"/>
                    </a:cubicBezTo>
                    <a:cubicBezTo>
                      <a:pt x="330" y="195"/>
                      <a:pt x="330" y="195"/>
                      <a:pt x="330" y="195"/>
                    </a:cubicBezTo>
                    <a:cubicBezTo>
                      <a:pt x="330" y="188"/>
                      <a:pt x="330" y="188"/>
                      <a:pt x="330" y="188"/>
                    </a:cubicBezTo>
                    <a:cubicBezTo>
                      <a:pt x="323" y="185"/>
                      <a:pt x="323" y="185"/>
                      <a:pt x="323" y="185"/>
                    </a:cubicBezTo>
                    <a:cubicBezTo>
                      <a:pt x="320" y="183"/>
                      <a:pt x="320" y="183"/>
                      <a:pt x="320" y="183"/>
                    </a:cubicBezTo>
                    <a:cubicBezTo>
                      <a:pt x="310" y="176"/>
                      <a:pt x="299" y="167"/>
                      <a:pt x="287" y="158"/>
                    </a:cubicBezTo>
                    <a:cubicBezTo>
                      <a:pt x="260" y="138"/>
                      <a:pt x="230" y="115"/>
                      <a:pt x="200" y="102"/>
                    </a:cubicBezTo>
                    <a:cubicBezTo>
                      <a:pt x="171" y="88"/>
                      <a:pt x="144" y="85"/>
                      <a:pt x="118" y="82"/>
                    </a:cubicBezTo>
                    <a:cubicBezTo>
                      <a:pt x="105" y="81"/>
                      <a:pt x="94" y="79"/>
                      <a:pt x="83" y="77"/>
                    </a:cubicBezTo>
                    <a:cubicBezTo>
                      <a:pt x="83" y="77"/>
                      <a:pt x="83" y="77"/>
                      <a:pt x="82" y="77"/>
                    </a:cubicBezTo>
                    <a:cubicBezTo>
                      <a:pt x="75" y="74"/>
                      <a:pt x="75" y="74"/>
                      <a:pt x="75" y="74"/>
                    </a:cubicBezTo>
                    <a:cubicBezTo>
                      <a:pt x="52" y="84"/>
                      <a:pt x="52" y="84"/>
                      <a:pt x="52" y="84"/>
                    </a:cubicBezTo>
                    <a:cubicBezTo>
                      <a:pt x="51" y="85"/>
                      <a:pt x="51" y="85"/>
                      <a:pt x="50" y="84"/>
                    </a:cubicBezTo>
                    <a:cubicBezTo>
                      <a:pt x="1" y="62"/>
                      <a:pt x="1" y="62"/>
                      <a:pt x="1" y="62"/>
                    </a:cubicBezTo>
                    <a:cubicBezTo>
                      <a:pt x="0" y="62"/>
                      <a:pt x="0" y="61"/>
                      <a:pt x="0" y="60"/>
                    </a:cubicBezTo>
                    <a:cubicBezTo>
                      <a:pt x="0" y="59"/>
                      <a:pt x="0" y="59"/>
                      <a:pt x="1" y="58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130" y="0"/>
                      <a:pt x="130" y="0"/>
                      <a:pt x="131" y="0"/>
                    </a:cubicBezTo>
                    <a:cubicBezTo>
                      <a:pt x="497" y="165"/>
                      <a:pt x="497" y="165"/>
                      <a:pt x="497" y="165"/>
                    </a:cubicBezTo>
                    <a:cubicBezTo>
                      <a:pt x="498" y="165"/>
                      <a:pt x="498" y="166"/>
                      <a:pt x="498" y="166"/>
                    </a:cubicBezTo>
                    <a:cubicBezTo>
                      <a:pt x="498" y="167"/>
                      <a:pt x="498" y="168"/>
                      <a:pt x="497" y="168"/>
                    </a:cubicBezTo>
                    <a:cubicBezTo>
                      <a:pt x="369" y="227"/>
                      <a:pt x="369" y="227"/>
                      <a:pt x="369" y="227"/>
                    </a:cubicBezTo>
                    <a:cubicBezTo>
                      <a:pt x="368" y="227"/>
                      <a:pt x="368" y="227"/>
                      <a:pt x="368" y="227"/>
                    </a:cubicBezTo>
                    <a:close/>
                    <a:moveTo>
                      <a:pt x="323" y="202"/>
                    </a:moveTo>
                    <a:cubicBezTo>
                      <a:pt x="368" y="223"/>
                      <a:pt x="368" y="223"/>
                      <a:pt x="368" y="223"/>
                    </a:cubicBezTo>
                    <a:cubicBezTo>
                      <a:pt x="492" y="166"/>
                      <a:pt x="492" y="166"/>
                      <a:pt x="492" y="166"/>
                    </a:cubicBezTo>
                    <a:cubicBezTo>
                      <a:pt x="130" y="4"/>
                      <a:pt x="130" y="4"/>
                      <a:pt x="130" y="4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51" y="80"/>
                      <a:pt x="51" y="80"/>
                      <a:pt x="51" y="80"/>
                    </a:cubicBezTo>
                    <a:cubicBezTo>
                      <a:pt x="75" y="70"/>
                      <a:pt x="75" y="70"/>
                      <a:pt x="75" y="70"/>
                    </a:cubicBezTo>
                    <a:cubicBezTo>
                      <a:pt x="75" y="69"/>
                      <a:pt x="76" y="69"/>
                      <a:pt x="76" y="70"/>
                    </a:cubicBezTo>
                    <a:cubicBezTo>
                      <a:pt x="84" y="73"/>
                      <a:pt x="84" y="73"/>
                      <a:pt x="84" y="73"/>
                    </a:cubicBezTo>
                    <a:cubicBezTo>
                      <a:pt x="95" y="75"/>
                      <a:pt x="106" y="77"/>
                      <a:pt x="118" y="78"/>
                    </a:cubicBezTo>
                    <a:cubicBezTo>
                      <a:pt x="144" y="81"/>
                      <a:pt x="172" y="85"/>
                      <a:pt x="202" y="98"/>
                    </a:cubicBezTo>
                    <a:cubicBezTo>
                      <a:pt x="232" y="112"/>
                      <a:pt x="263" y="135"/>
                      <a:pt x="289" y="155"/>
                    </a:cubicBezTo>
                    <a:cubicBezTo>
                      <a:pt x="301" y="164"/>
                      <a:pt x="312" y="173"/>
                      <a:pt x="323" y="180"/>
                    </a:cubicBezTo>
                    <a:cubicBezTo>
                      <a:pt x="325" y="181"/>
                      <a:pt x="325" y="181"/>
                      <a:pt x="325" y="181"/>
                    </a:cubicBezTo>
                    <a:cubicBezTo>
                      <a:pt x="333" y="185"/>
                      <a:pt x="333" y="185"/>
                      <a:pt x="333" y="185"/>
                    </a:cubicBezTo>
                    <a:cubicBezTo>
                      <a:pt x="333" y="185"/>
                      <a:pt x="334" y="186"/>
                      <a:pt x="334" y="186"/>
                    </a:cubicBezTo>
                    <a:cubicBezTo>
                      <a:pt x="334" y="196"/>
                      <a:pt x="334" y="196"/>
                      <a:pt x="334" y="196"/>
                    </a:cubicBezTo>
                    <a:cubicBezTo>
                      <a:pt x="334" y="197"/>
                      <a:pt x="333" y="198"/>
                      <a:pt x="333" y="198"/>
                    </a:cubicBezTo>
                    <a:lnTo>
                      <a:pt x="323" y="202"/>
                    </a:lnTo>
                    <a:close/>
                    <a:moveTo>
                      <a:pt x="431" y="189"/>
                    </a:moveTo>
                    <a:cubicBezTo>
                      <a:pt x="431" y="189"/>
                      <a:pt x="430" y="188"/>
                      <a:pt x="430" y="188"/>
                    </a:cubicBezTo>
                    <a:cubicBezTo>
                      <a:pt x="416" y="182"/>
                      <a:pt x="416" y="182"/>
                      <a:pt x="416" y="182"/>
                    </a:cubicBezTo>
                    <a:cubicBezTo>
                      <a:pt x="415" y="181"/>
                      <a:pt x="414" y="181"/>
                      <a:pt x="414" y="180"/>
                    </a:cubicBezTo>
                    <a:cubicBezTo>
                      <a:pt x="414" y="173"/>
                      <a:pt x="414" y="173"/>
                      <a:pt x="414" y="173"/>
                    </a:cubicBezTo>
                    <a:cubicBezTo>
                      <a:pt x="414" y="172"/>
                      <a:pt x="415" y="172"/>
                      <a:pt x="416" y="171"/>
                    </a:cubicBezTo>
                    <a:cubicBezTo>
                      <a:pt x="430" y="165"/>
                      <a:pt x="430" y="165"/>
                      <a:pt x="430" y="165"/>
                    </a:cubicBezTo>
                    <a:cubicBezTo>
                      <a:pt x="431" y="164"/>
                      <a:pt x="431" y="164"/>
                      <a:pt x="432" y="165"/>
                    </a:cubicBezTo>
                    <a:cubicBezTo>
                      <a:pt x="439" y="168"/>
                      <a:pt x="439" y="168"/>
                      <a:pt x="439" y="168"/>
                    </a:cubicBezTo>
                    <a:cubicBezTo>
                      <a:pt x="439" y="161"/>
                      <a:pt x="439" y="161"/>
                      <a:pt x="439" y="161"/>
                    </a:cubicBezTo>
                    <a:cubicBezTo>
                      <a:pt x="439" y="161"/>
                      <a:pt x="440" y="160"/>
                      <a:pt x="441" y="160"/>
                    </a:cubicBezTo>
                    <a:cubicBezTo>
                      <a:pt x="455" y="153"/>
                      <a:pt x="455" y="153"/>
                      <a:pt x="455" y="153"/>
                    </a:cubicBezTo>
                    <a:cubicBezTo>
                      <a:pt x="456" y="153"/>
                      <a:pt x="456" y="153"/>
                      <a:pt x="457" y="153"/>
                    </a:cubicBezTo>
                    <a:cubicBezTo>
                      <a:pt x="471" y="160"/>
                      <a:pt x="471" y="160"/>
                      <a:pt x="471" y="160"/>
                    </a:cubicBezTo>
                    <a:cubicBezTo>
                      <a:pt x="472" y="160"/>
                      <a:pt x="473" y="161"/>
                      <a:pt x="473" y="161"/>
                    </a:cubicBezTo>
                    <a:cubicBezTo>
                      <a:pt x="473" y="168"/>
                      <a:pt x="473" y="168"/>
                      <a:pt x="473" y="168"/>
                    </a:cubicBezTo>
                    <a:cubicBezTo>
                      <a:pt x="473" y="169"/>
                      <a:pt x="472" y="170"/>
                      <a:pt x="471" y="170"/>
                    </a:cubicBezTo>
                    <a:cubicBezTo>
                      <a:pt x="457" y="177"/>
                      <a:pt x="457" y="177"/>
                      <a:pt x="457" y="177"/>
                    </a:cubicBezTo>
                    <a:cubicBezTo>
                      <a:pt x="456" y="177"/>
                      <a:pt x="456" y="177"/>
                      <a:pt x="455" y="177"/>
                    </a:cubicBezTo>
                    <a:cubicBezTo>
                      <a:pt x="448" y="173"/>
                      <a:pt x="448" y="173"/>
                      <a:pt x="448" y="173"/>
                    </a:cubicBezTo>
                    <a:cubicBezTo>
                      <a:pt x="448" y="180"/>
                      <a:pt x="448" y="180"/>
                      <a:pt x="448" y="180"/>
                    </a:cubicBezTo>
                    <a:cubicBezTo>
                      <a:pt x="448" y="181"/>
                      <a:pt x="447" y="181"/>
                      <a:pt x="446" y="182"/>
                    </a:cubicBezTo>
                    <a:cubicBezTo>
                      <a:pt x="432" y="188"/>
                      <a:pt x="432" y="188"/>
                      <a:pt x="432" y="188"/>
                    </a:cubicBezTo>
                    <a:cubicBezTo>
                      <a:pt x="432" y="188"/>
                      <a:pt x="431" y="189"/>
                      <a:pt x="431" y="189"/>
                    </a:cubicBezTo>
                    <a:close/>
                    <a:moveTo>
                      <a:pt x="418" y="179"/>
                    </a:moveTo>
                    <a:cubicBezTo>
                      <a:pt x="431" y="184"/>
                      <a:pt x="431" y="184"/>
                      <a:pt x="431" y="184"/>
                    </a:cubicBezTo>
                    <a:cubicBezTo>
                      <a:pt x="444" y="179"/>
                      <a:pt x="444" y="179"/>
                      <a:pt x="444" y="179"/>
                    </a:cubicBezTo>
                    <a:cubicBezTo>
                      <a:pt x="444" y="174"/>
                      <a:pt x="444" y="174"/>
                      <a:pt x="444" y="174"/>
                    </a:cubicBezTo>
                    <a:cubicBezTo>
                      <a:pt x="431" y="169"/>
                      <a:pt x="431" y="169"/>
                      <a:pt x="431" y="169"/>
                    </a:cubicBezTo>
                    <a:cubicBezTo>
                      <a:pt x="418" y="174"/>
                      <a:pt x="418" y="174"/>
                      <a:pt x="418" y="174"/>
                    </a:cubicBezTo>
                    <a:lnTo>
                      <a:pt x="418" y="179"/>
                    </a:lnTo>
                    <a:close/>
                    <a:moveTo>
                      <a:pt x="443" y="167"/>
                    </a:moveTo>
                    <a:cubicBezTo>
                      <a:pt x="456" y="173"/>
                      <a:pt x="456" y="173"/>
                      <a:pt x="456" y="173"/>
                    </a:cubicBezTo>
                    <a:cubicBezTo>
                      <a:pt x="469" y="167"/>
                      <a:pt x="469" y="167"/>
                      <a:pt x="469" y="167"/>
                    </a:cubicBezTo>
                    <a:cubicBezTo>
                      <a:pt x="469" y="163"/>
                      <a:pt x="469" y="163"/>
                      <a:pt x="469" y="163"/>
                    </a:cubicBezTo>
                    <a:cubicBezTo>
                      <a:pt x="456" y="157"/>
                      <a:pt x="456" y="157"/>
                      <a:pt x="456" y="157"/>
                    </a:cubicBezTo>
                    <a:cubicBezTo>
                      <a:pt x="443" y="163"/>
                      <a:pt x="443" y="163"/>
                      <a:pt x="443" y="163"/>
                    </a:cubicBezTo>
                    <a:lnTo>
                      <a:pt x="443" y="167"/>
                    </a:lnTo>
                    <a:close/>
                    <a:moveTo>
                      <a:pt x="107" y="43"/>
                    </a:moveTo>
                    <a:cubicBezTo>
                      <a:pt x="107" y="43"/>
                      <a:pt x="107" y="43"/>
                      <a:pt x="106" y="43"/>
                    </a:cubicBezTo>
                    <a:cubicBezTo>
                      <a:pt x="92" y="36"/>
                      <a:pt x="92" y="36"/>
                      <a:pt x="92" y="36"/>
                    </a:cubicBezTo>
                    <a:cubicBezTo>
                      <a:pt x="91" y="36"/>
                      <a:pt x="91" y="35"/>
                      <a:pt x="91" y="34"/>
                    </a:cubicBezTo>
                    <a:cubicBezTo>
                      <a:pt x="91" y="28"/>
                      <a:pt x="91" y="28"/>
                      <a:pt x="91" y="28"/>
                    </a:cubicBezTo>
                    <a:cubicBezTo>
                      <a:pt x="91" y="27"/>
                      <a:pt x="91" y="26"/>
                      <a:pt x="92" y="26"/>
                    </a:cubicBezTo>
                    <a:cubicBezTo>
                      <a:pt x="106" y="19"/>
                      <a:pt x="106" y="19"/>
                      <a:pt x="106" y="19"/>
                    </a:cubicBezTo>
                    <a:cubicBezTo>
                      <a:pt x="107" y="19"/>
                      <a:pt x="108" y="19"/>
                      <a:pt x="108" y="19"/>
                    </a:cubicBezTo>
                    <a:cubicBezTo>
                      <a:pt x="116" y="23"/>
                      <a:pt x="116" y="23"/>
                      <a:pt x="116" y="23"/>
                    </a:cubicBezTo>
                    <a:cubicBezTo>
                      <a:pt x="116" y="16"/>
                      <a:pt x="116" y="16"/>
                      <a:pt x="116" y="16"/>
                    </a:cubicBezTo>
                    <a:cubicBezTo>
                      <a:pt x="116" y="15"/>
                      <a:pt x="116" y="14"/>
                      <a:pt x="117" y="14"/>
                    </a:cubicBezTo>
                    <a:cubicBezTo>
                      <a:pt x="132" y="7"/>
                      <a:pt x="132" y="7"/>
                      <a:pt x="132" y="7"/>
                    </a:cubicBezTo>
                    <a:cubicBezTo>
                      <a:pt x="132" y="7"/>
                      <a:pt x="133" y="7"/>
                      <a:pt x="133" y="7"/>
                    </a:cubicBezTo>
                    <a:cubicBezTo>
                      <a:pt x="148" y="14"/>
                      <a:pt x="148" y="14"/>
                      <a:pt x="148" y="14"/>
                    </a:cubicBezTo>
                    <a:cubicBezTo>
                      <a:pt x="149" y="14"/>
                      <a:pt x="149" y="15"/>
                      <a:pt x="149" y="16"/>
                    </a:cubicBezTo>
                    <a:cubicBezTo>
                      <a:pt x="149" y="23"/>
                      <a:pt x="149" y="23"/>
                      <a:pt x="149" y="23"/>
                    </a:cubicBezTo>
                    <a:cubicBezTo>
                      <a:pt x="149" y="23"/>
                      <a:pt x="149" y="24"/>
                      <a:pt x="148" y="25"/>
                    </a:cubicBezTo>
                    <a:cubicBezTo>
                      <a:pt x="133" y="31"/>
                      <a:pt x="133" y="31"/>
                      <a:pt x="133" y="31"/>
                    </a:cubicBezTo>
                    <a:cubicBezTo>
                      <a:pt x="133" y="31"/>
                      <a:pt x="132" y="31"/>
                      <a:pt x="132" y="31"/>
                    </a:cubicBezTo>
                    <a:cubicBezTo>
                      <a:pt x="124" y="28"/>
                      <a:pt x="124" y="28"/>
                      <a:pt x="124" y="28"/>
                    </a:cubicBezTo>
                    <a:cubicBezTo>
                      <a:pt x="124" y="34"/>
                      <a:pt x="124" y="34"/>
                      <a:pt x="124" y="34"/>
                    </a:cubicBezTo>
                    <a:cubicBezTo>
                      <a:pt x="124" y="35"/>
                      <a:pt x="123" y="36"/>
                      <a:pt x="123" y="36"/>
                    </a:cubicBezTo>
                    <a:cubicBezTo>
                      <a:pt x="108" y="43"/>
                      <a:pt x="108" y="43"/>
                      <a:pt x="108" y="43"/>
                    </a:cubicBezTo>
                    <a:cubicBezTo>
                      <a:pt x="108" y="43"/>
                      <a:pt x="108" y="43"/>
                      <a:pt x="107" y="43"/>
                    </a:cubicBezTo>
                    <a:close/>
                    <a:moveTo>
                      <a:pt x="95" y="33"/>
                    </a:moveTo>
                    <a:cubicBezTo>
                      <a:pt x="107" y="39"/>
                      <a:pt x="107" y="39"/>
                      <a:pt x="107" y="39"/>
                    </a:cubicBezTo>
                    <a:cubicBezTo>
                      <a:pt x="120" y="33"/>
                      <a:pt x="120" y="33"/>
                      <a:pt x="120" y="33"/>
                    </a:cubicBezTo>
                    <a:cubicBezTo>
                      <a:pt x="120" y="29"/>
                      <a:pt x="120" y="29"/>
                      <a:pt x="120" y="29"/>
                    </a:cubicBezTo>
                    <a:cubicBezTo>
                      <a:pt x="107" y="23"/>
                      <a:pt x="107" y="23"/>
                      <a:pt x="107" y="23"/>
                    </a:cubicBezTo>
                    <a:cubicBezTo>
                      <a:pt x="95" y="29"/>
                      <a:pt x="95" y="29"/>
                      <a:pt x="95" y="29"/>
                    </a:cubicBezTo>
                    <a:lnTo>
                      <a:pt x="95" y="33"/>
                    </a:lnTo>
                    <a:close/>
                    <a:moveTo>
                      <a:pt x="120" y="21"/>
                    </a:moveTo>
                    <a:cubicBezTo>
                      <a:pt x="132" y="27"/>
                      <a:pt x="132" y="27"/>
                      <a:pt x="132" y="27"/>
                    </a:cubicBezTo>
                    <a:cubicBezTo>
                      <a:pt x="145" y="21"/>
                      <a:pt x="145" y="21"/>
                      <a:pt x="145" y="21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32" y="11"/>
                      <a:pt x="132" y="11"/>
                      <a:pt x="132" y="11"/>
                    </a:cubicBezTo>
                    <a:cubicBezTo>
                      <a:pt x="120" y="17"/>
                      <a:pt x="120" y="17"/>
                      <a:pt x="120" y="17"/>
                    </a:cubicBezTo>
                    <a:lnTo>
                      <a:pt x="120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35"/>
              <p:cNvSpPr>
                <a:spLocks/>
              </p:cNvSpPr>
              <p:nvPr/>
            </p:nvSpPr>
            <p:spPr bwMode="gray">
              <a:xfrm>
                <a:off x="4006" y="2114"/>
                <a:ext cx="36" cy="21"/>
              </a:xfrm>
              <a:custGeom>
                <a:avLst/>
                <a:gdLst>
                  <a:gd name="T0" fmla="*/ 2 w 15"/>
                  <a:gd name="T1" fmla="*/ 9 h 9"/>
                  <a:gd name="T2" fmla="*/ 1 w 15"/>
                  <a:gd name="T3" fmla="*/ 8 h 9"/>
                  <a:gd name="T4" fmla="*/ 0 w 15"/>
                  <a:gd name="T5" fmla="*/ 7 h 9"/>
                  <a:gd name="T6" fmla="*/ 2 w 15"/>
                  <a:gd name="T7" fmla="*/ 5 h 9"/>
                  <a:gd name="T8" fmla="*/ 12 w 15"/>
                  <a:gd name="T9" fmla="*/ 1 h 9"/>
                  <a:gd name="T10" fmla="*/ 15 w 15"/>
                  <a:gd name="T11" fmla="*/ 2 h 9"/>
                  <a:gd name="T12" fmla="*/ 15 w 15"/>
                  <a:gd name="T13" fmla="*/ 2 h 9"/>
                  <a:gd name="T14" fmla="*/ 14 w 15"/>
                  <a:gd name="T15" fmla="*/ 4 h 9"/>
                  <a:gd name="T16" fmla="*/ 3 w 15"/>
                  <a:gd name="T17" fmla="*/ 9 h 9"/>
                  <a:gd name="T18" fmla="*/ 2 w 15"/>
                  <a:gd name="T1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9">
                    <a:moveTo>
                      <a:pt x="2" y="9"/>
                    </a:moveTo>
                    <a:cubicBezTo>
                      <a:pt x="2" y="9"/>
                      <a:pt x="1" y="9"/>
                      <a:pt x="1" y="8"/>
                    </a:cubicBezTo>
                    <a:cubicBezTo>
                      <a:pt x="0" y="8"/>
                      <a:pt x="0" y="7"/>
                      <a:pt x="0" y="7"/>
                    </a:cubicBezTo>
                    <a:cubicBezTo>
                      <a:pt x="0" y="6"/>
                      <a:pt x="1" y="6"/>
                      <a:pt x="2" y="5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1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3"/>
                      <a:pt x="14" y="4"/>
                      <a:pt x="14" y="4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Freeform 36"/>
              <p:cNvSpPr>
                <a:spLocks noEditPoints="1"/>
              </p:cNvSpPr>
              <p:nvPr/>
            </p:nvSpPr>
            <p:spPr bwMode="gray">
              <a:xfrm>
                <a:off x="3184" y="2233"/>
                <a:ext cx="190" cy="114"/>
              </a:xfrm>
              <a:custGeom>
                <a:avLst/>
                <a:gdLst>
                  <a:gd name="T0" fmla="*/ 78 w 80"/>
                  <a:gd name="T1" fmla="*/ 48 h 48"/>
                  <a:gd name="T2" fmla="*/ 77 w 80"/>
                  <a:gd name="T3" fmla="*/ 47 h 48"/>
                  <a:gd name="T4" fmla="*/ 1 w 80"/>
                  <a:gd name="T5" fmla="*/ 13 h 48"/>
                  <a:gd name="T6" fmla="*/ 0 w 80"/>
                  <a:gd name="T7" fmla="*/ 11 h 48"/>
                  <a:gd name="T8" fmla="*/ 0 w 80"/>
                  <a:gd name="T9" fmla="*/ 2 h 48"/>
                  <a:gd name="T10" fmla="*/ 1 w 80"/>
                  <a:gd name="T11" fmla="*/ 0 h 48"/>
                  <a:gd name="T12" fmla="*/ 2 w 80"/>
                  <a:gd name="T13" fmla="*/ 0 h 48"/>
                  <a:gd name="T14" fmla="*/ 79 w 80"/>
                  <a:gd name="T15" fmla="*/ 35 h 48"/>
                  <a:gd name="T16" fmla="*/ 80 w 80"/>
                  <a:gd name="T17" fmla="*/ 37 h 48"/>
                  <a:gd name="T18" fmla="*/ 80 w 80"/>
                  <a:gd name="T19" fmla="*/ 46 h 48"/>
                  <a:gd name="T20" fmla="*/ 79 w 80"/>
                  <a:gd name="T21" fmla="*/ 47 h 48"/>
                  <a:gd name="T22" fmla="*/ 78 w 80"/>
                  <a:gd name="T23" fmla="*/ 48 h 48"/>
                  <a:gd name="T24" fmla="*/ 4 w 80"/>
                  <a:gd name="T25" fmla="*/ 10 h 48"/>
                  <a:gd name="T26" fmla="*/ 76 w 80"/>
                  <a:gd name="T27" fmla="*/ 43 h 48"/>
                  <a:gd name="T28" fmla="*/ 76 w 80"/>
                  <a:gd name="T29" fmla="*/ 38 h 48"/>
                  <a:gd name="T30" fmla="*/ 75 w 80"/>
                  <a:gd name="T31" fmla="*/ 37 h 48"/>
                  <a:gd name="T32" fmla="*/ 75 w 80"/>
                  <a:gd name="T33" fmla="*/ 37 h 48"/>
                  <a:gd name="T34" fmla="*/ 4 w 80"/>
                  <a:gd name="T35" fmla="*/ 5 h 48"/>
                  <a:gd name="T36" fmla="*/ 4 w 80"/>
                  <a:gd name="T37" fmla="*/ 1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0" h="48">
                    <a:moveTo>
                      <a:pt x="78" y="48"/>
                    </a:moveTo>
                    <a:cubicBezTo>
                      <a:pt x="78" y="48"/>
                      <a:pt x="77" y="48"/>
                      <a:pt x="77" y="47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3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79" y="35"/>
                      <a:pt x="79" y="35"/>
                      <a:pt x="79" y="35"/>
                    </a:cubicBezTo>
                    <a:cubicBezTo>
                      <a:pt x="80" y="35"/>
                      <a:pt x="80" y="36"/>
                      <a:pt x="80" y="37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80" y="46"/>
                      <a:pt x="80" y="47"/>
                      <a:pt x="79" y="47"/>
                    </a:cubicBezTo>
                    <a:cubicBezTo>
                      <a:pt x="79" y="48"/>
                      <a:pt x="78" y="48"/>
                      <a:pt x="78" y="48"/>
                    </a:cubicBezTo>
                    <a:close/>
                    <a:moveTo>
                      <a:pt x="4" y="10"/>
                    </a:moveTo>
                    <a:cubicBezTo>
                      <a:pt x="76" y="43"/>
                      <a:pt x="76" y="43"/>
                      <a:pt x="76" y="43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Freeform 37"/>
              <p:cNvSpPr>
                <a:spLocks/>
              </p:cNvSpPr>
              <p:nvPr/>
            </p:nvSpPr>
            <p:spPr bwMode="gray">
              <a:xfrm>
                <a:off x="3181" y="2233"/>
                <a:ext cx="12" cy="9"/>
              </a:xfrm>
              <a:custGeom>
                <a:avLst/>
                <a:gdLst>
                  <a:gd name="T0" fmla="*/ 3 w 5"/>
                  <a:gd name="T1" fmla="*/ 4 h 4"/>
                  <a:gd name="T2" fmla="*/ 2 w 5"/>
                  <a:gd name="T3" fmla="*/ 4 h 4"/>
                  <a:gd name="T4" fmla="*/ 1 w 5"/>
                  <a:gd name="T5" fmla="*/ 1 h 4"/>
                  <a:gd name="T6" fmla="*/ 3 w 5"/>
                  <a:gd name="T7" fmla="*/ 0 h 4"/>
                  <a:gd name="T8" fmla="*/ 3 w 5"/>
                  <a:gd name="T9" fmla="*/ 0 h 4"/>
                  <a:gd name="T10" fmla="*/ 3 w 5"/>
                  <a:gd name="T11" fmla="*/ 0 h 4"/>
                  <a:gd name="T12" fmla="*/ 3 w 5"/>
                  <a:gd name="T13" fmla="*/ 0 h 4"/>
                  <a:gd name="T14" fmla="*/ 3 w 5"/>
                  <a:gd name="T15" fmla="*/ 0 h 4"/>
                  <a:gd name="T16" fmla="*/ 3 w 5"/>
                  <a:gd name="T17" fmla="*/ 0 h 4"/>
                  <a:gd name="T18" fmla="*/ 3 w 5"/>
                  <a:gd name="T19" fmla="*/ 0 h 4"/>
                  <a:gd name="T20" fmla="*/ 3 w 5"/>
                  <a:gd name="T21" fmla="*/ 0 h 4"/>
                  <a:gd name="T22" fmla="*/ 3 w 5"/>
                  <a:gd name="T23" fmla="*/ 0 h 4"/>
                  <a:gd name="T24" fmla="*/ 3 w 5"/>
                  <a:gd name="T25" fmla="*/ 0 h 4"/>
                  <a:gd name="T26" fmla="*/ 4 w 5"/>
                  <a:gd name="T27" fmla="*/ 1 h 4"/>
                  <a:gd name="T28" fmla="*/ 5 w 5"/>
                  <a:gd name="T29" fmla="*/ 2 h 4"/>
                  <a:gd name="T30" fmla="*/ 5 w 5"/>
                  <a:gd name="T31" fmla="*/ 3 h 4"/>
                  <a:gd name="T32" fmla="*/ 4 w 5"/>
                  <a:gd name="T33" fmla="*/ 3 h 4"/>
                  <a:gd name="T34" fmla="*/ 4 w 5"/>
                  <a:gd name="T35" fmla="*/ 4 h 4"/>
                  <a:gd name="T36" fmla="*/ 3 w 5"/>
                  <a:gd name="T37" fmla="*/ 4 h 4"/>
                  <a:gd name="T38" fmla="*/ 3 w 5"/>
                  <a:gd name="T3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1"/>
                      <a:pt x="4" y="1"/>
                    </a:cubicBezTo>
                    <a:cubicBezTo>
                      <a:pt x="4" y="1"/>
                      <a:pt x="5" y="1"/>
                      <a:pt x="5" y="2"/>
                    </a:cubicBezTo>
                    <a:cubicBezTo>
                      <a:pt x="5" y="2"/>
                      <a:pt x="5" y="2"/>
                      <a:pt x="5" y="3"/>
                    </a:cubicBezTo>
                    <a:cubicBezTo>
                      <a:pt x="5" y="3"/>
                      <a:pt x="4" y="3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4" y="4"/>
                      <a:pt x="3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38"/>
              <p:cNvSpPr>
                <a:spLocks noEditPoints="1"/>
              </p:cNvSpPr>
              <p:nvPr/>
            </p:nvSpPr>
            <p:spPr bwMode="gray">
              <a:xfrm>
                <a:off x="3932" y="2570"/>
                <a:ext cx="195" cy="114"/>
              </a:xfrm>
              <a:custGeom>
                <a:avLst/>
                <a:gdLst>
                  <a:gd name="T0" fmla="*/ 80 w 82"/>
                  <a:gd name="T1" fmla="*/ 48 h 48"/>
                  <a:gd name="T2" fmla="*/ 79 w 82"/>
                  <a:gd name="T3" fmla="*/ 48 h 48"/>
                  <a:gd name="T4" fmla="*/ 1 w 82"/>
                  <a:gd name="T5" fmla="*/ 13 h 48"/>
                  <a:gd name="T6" fmla="*/ 0 w 82"/>
                  <a:gd name="T7" fmla="*/ 11 h 48"/>
                  <a:gd name="T8" fmla="*/ 0 w 82"/>
                  <a:gd name="T9" fmla="*/ 2 h 48"/>
                  <a:gd name="T10" fmla="*/ 0 w 82"/>
                  <a:gd name="T11" fmla="*/ 0 h 48"/>
                  <a:gd name="T12" fmla="*/ 2 w 82"/>
                  <a:gd name="T13" fmla="*/ 0 h 48"/>
                  <a:gd name="T14" fmla="*/ 81 w 82"/>
                  <a:gd name="T15" fmla="*/ 35 h 48"/>
                  <a:gd name="T16" fmla="*/ 82 w 82"/>
                  <a:gd name="T17" fmla="*/ 37 h 48"/>
                  <a:gd name="T18" fmla="*/ 82 w 82"/>
                  <a:gd name="T19" fmla="*/ 46 h 48"/>
                  <a:gd name="T20" fmla="*/ 81 w 82"/>
                  <a:gd name="T21" fmla="*/ 48 h 48"/>
                  <a:gd name="T22" fmla="*/ 80 w 82"/>
                  <a:gd name="T23" fmla="*/ 48 h 48"/>
                  <a:gd name="T24" fmla="*/ 4 w 82"/>
                  <a:gd name="T25" fmla="*/ 10 h 48"/>
                  <a:gd name="T26" fmla="*/ 78 w 82"/>
                  <a:gd name="T27" fmla="*/ 43 h 48"/>
                  <a:gd name="T28" fmla="*/ 78 w 82"/>
                  <a:gd name="T29" fmla="*/ 38 h 48"/>
                  <a:gd name="T30" fmla="*/ 77 w 82"/>
                  <a:gd name="T31" fmla="*/ 38 h 48"/>
                  <a:gd name="T32" fmla="*/ 77 w 82"/>
                  <a:gd name="T33" fmla="*/ 38 h 48"/>
                  <a:gd name="T34" fmla="*/ 4 w 82"/>
                  <a:gd name="T35" fmla="*/ 5 h 48"/>
                  <a:gd name="T36" fmla="*/ 4 w 82"/>
                  <a:gd name="T37" fmla="*/ 1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2" h="48">
                    <a:moveTo>
                      <a:pt x="80" y="48"/>
                    </a:moveTo>
                    <a:cubicBezTo>
                      <a:pt x="80" y="48"/>
                      <a:pt x="79" y="48"/>
                      <a:pt x="79" y="48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2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81" y="35"/>
                      <a:pt x="81" y="35"/>
                      <a:pt x="81" y="35"/>
                    </a:cubicBezTo>
                    <a:cubicBezTo>
                      <a:pt x="81" y="35"/>
                      <a:pt x="82" y="36"/>
                      <a:pt x="82" y="37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7"/>
                      <a:pt x="82" y="47"/>
                      <a:pt x="81" y="48"/>
                    </a:cubicBezTo>
                    <a:cubicBezTo>
                      <a:pt x="81" y="48"/>
                      <a:pt x="80" y="48"/>
                      <a:pt x="80" y="48"/>
                    </a:cubicBezTo>
                    <a:close/>
                    <a:moveTo>
                      <a:pt x="4" y="10"/>
                    </a:moveTo>
                    <a:cubicBezTo>
                      <a:pt x="78" y="43"/>
                      <a:pt x="78" y="43"/>
                      <a:pt x="78" y="43"/>
                    </a:cubicBezTo>
                    <a:cubicBezTo>
                      <a:pt x="78" y="38"/>
                      <a:pt x="78" y="38"/>
                      <a:pt x="78" y="38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9"/>
              <p:cNvSpPr>
                <a:spLocks noEditPoints="1"/>
              </p:cNvSpPr>
              <p:nvPr/>
            </p:nvSpPr>
            <p:spPr bwMode="gray">
              <a:xfrm>
                <a:off x="3364" y="2287"/>
                <a:ext cx="69" cy="60"/>
              </a:xfrm>
              <a:custGeom>
                <a:avLst/>
                <a:gdLst>
                  <a:gd name="T0" fmla="*/ 2 w 29"/>
                  <a:gd name="T1" fmla="*/ 25 h 25"/>
                  <a:gd name="T2" fmla="*/ 1 w 29"/>
                  <a:gd name="T3" fmla="*/ 24 h 25"/>
                  <a:gd name="T4" fmla="*/ 0 w 29"/>
                  <a:gd name="T5" fmla="*/ 23 h 25"/>
                  <a:gd name="T6" fmla="*/ 0 w 29"/>
                  <a:gd name="T7" fmla="*/ 14 h 25"/>
                  <a:gd name="T8" fmla="*/ 1 w 29"/>
                  <a:gd name="T9" fmla="*/ 12 h 25"/>
                  <a:gd name="T10" fmla="*/ 26 w 29"/>
                  <a:gd name="T11" fmla="*/ 0 h 25"/>
                  <a:gd name="T12" fmla="*/ 28 w 29"/>
                  <a:gd name="T13" fmla="*/ 0 h 25"/>
                  <a:gd name="T14" fmla="*/ 29 w 29"/>
                  <a:gd name="T15" fmla="*/ 2 h 25"/>
                  <a:gd name="T16" fmla="*/ 29 w 29"/>
                  <a:gd name="T17" fmla="*/ 11 h 25"/>
                  <a:gd name="T18" fmla="*/ 28 w 29"/>
                  <a:gd name="T19" fmla="*/ 13 h 25"/>
                  <a:gd name="T20" fmla="*/ 3 w 29"/>
                  <a:gd name="T21" fmla="*/ 24 h 25"/>
                  <a:gd name="T22" fmla="*/ 2 w 29"/>
                  <a:gd name="T23" fmla="*/ 25 h 25"/>
                  <a:gd name="T24" fmla="*/ 4 w 29"/>
                  <a:gd name="T25" fmla="*/ 15 h 25"/>
                  <a:gd name="T26" fmla="*/ 4 w 29"/>
                  <a:gd name="T27" fmla="*/ 20 h 25"/>
                  <a:gd name="T28" fmla="*/ 25 w 29"/>
                  <a:gd name="T29" fmla="*/ 10 h 25"/>
                  <a:gd name="T30" fmla="*/ 25 w 29"/>
                  <a:gd name="T31" fmla="*/ 5 h 25"/>
                  <a:gd name="T32" fmla="*/ 5 w 29"/>
                  <a:gd name="T33" fmla="*/ 14 h 25"/>
                  <a:gd name="T34" fmla="*/ 5 w 29"/>
                  <a:gd name="T35" fmla="*/ 14 h 25"/>
                  <a:gd name="T36" fmla="*/ 4 w 29"/>
                  <a:gd name="T37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25">
                    <a:moveTo>
                      <a:pt x="2" y="25"/>
                    </a:moveTo>
                    <a:cubicBezTo>
                      <a:pt x="2" y="25"/>
                      <a:pt x="1" y="25"/>
                      <a:pt x="1" y="24"/>
                    </a:cubicBezTo>
                    <a:cubicBezTo>
                      <a:pt x="0" y="24"/>
                      <a:pt x="0" y="23"/>
                      <a:pt x="0" y="2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2"/>
                      <a:pt x="1" y="12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7" y="0"/>
                      <a:pt x="28" y="0"/>
                      <a:pt x="28" y="0"/>
                    </a:cubicBezTo>
                    <a:cubicBezTo>
                      <a:pt x="29" y="0"/>
                      <a:pt x="29" y="1"/>
                      <a:pt x="29" y="2"/>
                    </a:cubicBezTo>
                    <a:cubicBezTo>
                      <a:pt x="29" y="11"/>
                      <a:pt x="29" y="11"/>
                      <a:pt x="29" y="11"/>
                    </a:cubicBezTo>
                    <a:cubicBezTo>
                      <a:pt x="29" y="12"/>
                      <a:pt x="29" y="12"/>
                      <a:pt x="28" y="13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3" y="25"/>
                      <a:pt x="2" y="25"/>
                      <a:pt x="2" y="25"/>
                    </a:cubicBezTo>
                    <a:close/>
                    <a:moveTo>
                      <a:pt x="4" y="15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4"/>
                      <a:pt x="5" y="14"/>
                      <a:pt x="5" y="14"/>
                    </a:cubicBezTo>
                    <a:lnTo>
                      <a:pt x="4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40"/>
              <p:cNvSpPr>
                <a:spLocks noEditPoints="1"/>
              </p:cNvSpPr>
              <p:nvPr/>
            </p:nvSpPr>
            <p:spPr bwMode="gray">
              <a:xfrm>
                <a:off x="3424" y="2287"/>
                <a:ext cx="159" cy="81"/>
              </a:xfrm>
              <a:custGeom>
                <a:avLst/>
                <a:gdLst>
                  <a:gd name="T0" fmla="*/ 60 w 67"/>
                  <a:gd name="T1" fmla="*/ 34 h 34"/>
                  <a:gd name="T2" fmla="*/ 59 w 67"/>
                  <a:gd name="T3" fmla="*/ 34 h 34"/>
                  <a:gd name="T4" fmla="*/ 54 w 67"/>
                  <a:gd name="T5" fmla="*/ 31 h 34"/>
                  <a:gd name="T6" fmla="*/ 49 w 67"/>
                  <a:gd name="T7" fmla="*/ 33 h 34"/>
                  <a:gd name="T8" fmla="*/ 48 w 67"/>
                  <a:gd name="T9" fmla="*/ 33 h 34"/>
                  <a:gd name="T10" fmla="*/ 1 w 67"/>
                  <a:gd name="T11" fmla="*/ 13 h 34"/>
                  <a:gd name="T12" fmla="*/ 0 w 67"/>
                  <a:gd name="T13" fmla="*/ 11 h 34"/>
                  <a:gd name="T14" fmla="*/ 0 w 67"/>
                  <a:gd name="T15" fmla="*/ 2 h 34"/>
                  <a:gd name="T16" fmla="*/ 1 w 67"/>
                  <a:gd name="T17" fmla="*/ 0 h 34"/>
                  <a:gd name="T18" fmla="*/ 3 w 67"/>
                  <a:gd name="T19" fmla="*/ 0 h 34"/>
                  <a:gd name="T20" fmla="*/ 66 w 67"/>
                  <a:gd name="T21" fmla="*/ 28 h 34"/>
                  <a:gd name="T22" fmla="*/ 67 w 67"/>
                  <a:gd name="T23" fmla="*/ 30 h 34"/>
                  <a:gd name="T24" fmla="*/ 66 w 67"/>
                  <a:gd name="T25" fmla="*/ 32 h 34"/>
                  <a:gd name="T26" fmla="*/ 61 w 67"/>
                  <a:gd name="T27" fmla="*/ 34 h 34"/>
                  <a:gd name="T28" fmla="*/ 60 w 67"/>
                  <a:gd name="T29" fmla="*/ 34 h 34"/>
                  <a:gd name="T30" fmla="*/ 4 w 67"/>
                  <a:gd name="T31" fmla="*/ 10 h 34"/>
                  <a:gd name="T32" fmla="*/ 48 w 67"/>
                  <a:gd name="T33" fmla="*/ 29 h 34"/>
                  <a:gd name="T34" fmla="*/ 53 w 67"/>
                  <a:gd name="T35" fmla="*/ 27 h 34"/>
                  <a:gd name="T36" fmla="*/ 54 w 67"/>
                  <a:gd name="T37" fmla="*/ 27 h 34"/>
                  <a:gd name="T38" fmla="*/ 4 w 67"/>
                  <a:gd name="T39" fmla="*/ 5 h 34"/>
                  <a:gd name="T40" fmla="*/ 4 w 67"/>
                  <a:gd name="T41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7" h="34">
                    <a:moveTo>
                      <a:pt x="60" y="34"/>
                    </a:moveTo>
                    <a:cubicBezTo>
                      <a:pt x="60" y="34"/>
                      <a:pt x="59" y="34"/>
                      <a:pt x="59" y="34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2" y="32"/>
                      <a:pt x="51" y="33"/>
                      <a:pt x="49" y="33"/>
                    </a:cubicBezTo>
                    <a:cubicBezTo>
                      <a:pt x="49" y="34"/>
                      <a:pt x="48" y="34"/>
                      <a:pt x="48" y="3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2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66" y="28"/>
                      <a:pt x="66" y="28"/>
                      <a:pt x="66" y="28"/>
                    </a:cubicBezTo>
                    <a:cubicBezTo>
                      <a:pt x="66" y="28"/>
                      <a:pt x="67" y="29"/>
                      <a:pt x="67" y="30"/>
                    </a:cubicBezTo>
                    <a:cubicBezTo>
                      <a:pt x="67" y="31"/>
                      <a:pt x="66" y="32"/>
                      <a:pt x="66" y="32"/>
                    </a:cubicBezTo>
                    <a:cubicBezTo>
                      <a:pt x="64" y="32"/>
                      <a:pt x="62" y="33"/>
                      <a:pt x="61" y="34"/>
                    </a:cubicBezTo>
                    <a:cubicBezTo>
                      <a:pt x="61" y="34"/>
                      <a:pt x="60" y="34"/>
                      <a:pt x="60" y="34"/>
                    </a:cubicBezTo>
                    <a:close/>
                    <a:moveTo>
                      <a:pt x="4" y="10"/>
                    </a:moveTo>
                    <a:cubicBezTo>
                      <a:pt x="48" y="29"/>
                      <a:pt x="48" y="29"/>
                      <a:pt x="48" y="29"/>
                    </a:cubicBezTo>
                    <a:cubicBezTo>
                      <a:pt x="50" y="29"/>
                      <a:pt x="52" y="28"/>
                      <a:pt x="53" y="27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41"/>
              <p:cNvSpPr>
                <a:spLocks noEditPoints="1"/>
              </p:cNvSpPr>
              <p:nvPr/>
            </p:nvSpPr>
            <p:spPr bwMode="gray">
              <a:xfrm>
                <a:off x="3844" y="2475"/>
                <a:ext cx="114" cy="78"/>
              </a:xfrm>
              <a:custGeom>
                <a:avLst/>
                <a:gdLst>
                  <a:gd name="T0" fmla="*/ 46 w 48"/>
                  <a:gd name="T1" fmla="*/ 33 h 33"/>
                  <a:gd name="T2" fmla="*/ 46 w 48"/>
                  <a:gd name="T3" fmla="*/ 33 h 33"/>
                  <a:gd name="T4" fmla="*/ 19 w 48"/>
                  <a:gd name="T5" fmla="*/ 21 h 33"/>
                  <a:gd name="T6" fmla="*/ 18 w 48"/>
                  <a:gd name="T7" fmla="*/ 20 h 33"/>
                  <a:gd name="T8" fmla="*/ 18 w 48"/>
                  <a:gd name="T9" fmla="*/ 16 h 33"/>
                  <a:gd name="T10" fmla="*/ 2 w 48"/>
                  <a:gd name="T11" fmla="*/ 9 h 33"/>
                  <a:gd name="T12" fmla="*/ 0 w 48"/>
                  <a:gd name="T13" fmla="*/ 7 h 33"/>
                  <a:gd name="T14" fmla="*/ 0 w 48"/>
                  <a:gd name="T15" fmla="*/ 2 h 33"/>
                  <a:gd name="T16" fmla="*/ 1 w 48"/>
                  <a:gd name="T17" fmla="*/ 1 h 33"/>
                  <a:gd name="T18" fmla="*/ 3 w 48"/>
                  <a:gd name="T19" fmla="*/ 1 h 33"/>
                  <a:gd name="T20" fmla="*/ 47 w 48"/>
                  <a:gd name="T21" fmla="*/ 20 h 33"/>
                  <a:gd name="T22" fmla="*/ 48 w 48"/>
                  <a:gd name="T23" fmla="*/ 22 h 33"/>
                  <a:gd name="T24" fmla="*/ 48 w 48"/>
                  <a:gd name="T25" fmla="*/ 31 h 33"/>
                  <a:gd name="T26" fmla="*/ 47 w 48"/>
                  <a:gd name="T27" fmla="*/ 33 h 33"/>
                  <a:gd name="T28" fmla="*/ 46 w 48"/>
                  <a:gd name="T29" fmla="*/ 33 h 33"/>
                  <a:gd name="T30" fmla="*/ 22 w 48"/>
                  <a:gd name="T31" fmla="*/ 18 h 33"/>
                  <a:gd name="T32" fmla="*/ 44 w 48"/>
                  <a:gd name="T33" fmla="*/ 28 h 33"/>
                  <a:gd name="T34" fmla="*/ 44 w 48"/>
                  <a:gd name="T35" fmla="*/ 24 h 33"/>
                  <a:gd name="T36" fmla="*/ 21 w 48"/>
                  <a:gd name="T37" fmla="*/ 13 h 33"/>
                  <a:gd name="T38" fmla="*/ 22 w 48"/>
                  <a:gd name="T39" fmla="*/ 15 h 33"/>
                  <a:gd name="T40" fmla="*/ 22 w 48"/>
                  <a:gd name="T41" fmla="*/ 1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33">
                    <a:moveTo>
                      <a:pt x="46" y="33"/>
                    </a:moveTo>
                    <a:cubicBezTo>
                      <a:pt x="46" y="33"/>
                      <a:pt x="46" y="33"/>
                      <a:pt x="46" y="33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8" y="21"/>
                      <a:pt x="18" y="20"/>
                      <a:pt x="18" y="20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8"/>
                      <a:pt x="0" y="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47" y="20"/>
                      <a:pt x="47" y="20"/>
                      <a:pt x="47" y="20"/>
                    </a:cubicBezTo>
                    <a:cubicBezTo>
                      <a:pt x="48" y="21"/>
                      <a:pt x="48" y="21"/>
                      <a:pt x="48" y="22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8" y="32"/>
                      <a:pt x="48" y="33"/>
                      <a:pt x="47" y="33"/>
                    </a:cubicBezTo>
                    <a:cubicBezTo>
                      <a:pt x="47" y="33"/>
                      <a:pt x="47" y="33"/>
                      <a:pt x="46" y="33"/>
                    </a:cubicBezTo>
                    <a:close/>
                    <a:moveTo>
                      <a:pt x="22" y="18"/>
                    </a:move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4"/>
                      <a:pt x="44" y="24"/>
                      <a:pt x="44" y="24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2" y="14"/>
                      <a:pt x="22" y="14"/>
                      <a:pt x="22" y="15"/>
                    </a:cubicBezTo>
                    <a:lnTo>
                      <a:pt x="22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42"/>
              <p:cNvSpPr>
                <a:spLocks noEditPoints="1"/>
              </p:cNvSpPr>
              <p:nvPr/>
            </p:nvSpPr>
            <p:spPr bwMode="gray">
              <a:xfrm>
                <a:off x="4118" y="2484"/>
                <a:ext cx="378" cy="200"/>
              </a:xfrm>
              <a:custGeom>
                <a:avLst/>
                <a:gdLst>
                  <a:gd name="T0" fmla="*/ 2 w 159"/>
                  <a:gd name="T1" fmla="*/ 84 h 84"/>
                  <a:gd name="T2" fmla="*/ 1 w 159"/>
                  <a:gd name="T3" fmla="*/ 84 h 84"/>
                  <a:gd name="T4" fmla="*/ 0 w 159"/>
                  <a:gd name="T5" fmla="*/ 82 h 84"/>
                  <a:gd name="T6" fmla="*/ 0 w 159"/>
                  <a:gd name="T7" fmla="*/ 73 h 84"/>
                  <a:gd name="T8" fmla="*/ 1 w 159"/>
                  <a:gd name="T9" fmla="*/ 71 h 84"/>
                  <a:gd name="T10" fmla="*/ 3 w 159"/>
                  <a:gd name="T11" fmla="*/ 70 h 84"/>
                  <a:gd name="T12" fmla="*/ 3 w 159"/>
                  <a:gd name="T13" fmla="*/ 70 h 84"/>
                  <a:gd name="T14" fmla="*/ 157 w 159"/>
                  <a:gd name="T15" fmla="*/ 0 h 84"/>
                  <a:gd name="T16" fmla="*/ 158 w 159"/>
                  <a:gd name="T17" fmla="*/ 0 h 84"/>
                  <a:gd name="T18" fmla="*/ 159 w 159"/>
                  <a:gd name="T19" fmla="*/ 2 h 84"/>
                  <a:gd name="T20" fmla="*/ 159 w 159"/>
                  <a:gd name="T21" fmla="*/ 11 h 84"/>
                  <a:gd name="T22" fmla="*/ 158 w 159"/>
                  <a:gd name="T23" fmla="*/ 13 h 84"/>
                  <a:gd name="T24" fmla="*/ 3 w 159"/>
                  <a:gd name="T25" fmla="*/ 84 h 84"/>
                  <a:gd name="T26" fmla="*/ 2 w 159"/>
                  <a:gd name="T27" fmla="*/ 84 h 84"/>
                  <a:gd name="T28" fmla="*/ 4 w 159"/>
                  <a:gd name="T29" fmla="*/ 74 h 84"/>
                  <a:gd name="T30" fmla="*/ 4 w 159"/>
                  <a:gd name="T31" fmla="*/ 79 h 84"/>
                  <a:gd name="T32" fmla="*/ 155 w 159"/>
                  <a:gd name="T33" fmla="*/ 10 h 84"/>
                  <a:gd name="T34" fmla="*/ 155 w 159"/>
                  <a:gd name="T35" fmla="*/ 5 h 84"/>
                  <a:gd name="T36" fmla="*/ 4 w 159"/>
                  <a:gd name="T37" fmla="*/ 7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" h="84">
                    <a:moveTo>
                      <a:pt x="2" y="84"/>
                    </a:moveTo>
                    <a:cubicBezTo>
                      <a:pt x="2" y="84"/>
                      <a:pt x="1" y="84"/>
                      <a:pt x="1" y="84"/>
                    </a:cubicBezTo>
                    <a:cubicBezTo>
                      <a:pt x="0" y="83"/>
                      <a:pt x="0" y="83"/>
                      <a:pt x="0" y="82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157" y="0"/>
                      <a:pt x="157" y="0"/>
                      <a:pt x="157" y="0"/>
                    </a:cubicBezTo>
                    <a:cubicBezTo>
                      <a:pt x="157" y="0"/>
                      <a:pt x="158" y="0"/>
                      <a:pt x="158" y="0"/>
                    </a:cubicBezTo>
                    <a:cubicBezTo>
                      <a:pt x="159" y="1"/>
                      <a:pt x="159" y="1"/>
                      <a:pt x="159" y="2"/>
                    </a:cubicBezTo>
                    <a:cubicBezTo>
                      <a:pt x="159" y="11"/>
                      <a:pt x="159" y="11"/>
                      <a:pt x="159" y="11"/>
                    </a:cubicBezTo>
                    <a:cubicBezTo>
                      <a:pt x="159" y="12"/>
                      <a:pt x="159" y="13"/>
                      <a:pt x="158" y="13"/>
                    </a:cubicBezTo>
                    <a:cubicBezTo>
                      <a:pt x="3" y="84"/>
                      <a:pt x="3" y="84"/>
                      <a:pt x="3" y="84"/>
                    </a:cubicBezTo>
                    <a:cubicBezTo>
                      <a:pt x="3" y="84"/>
                      <a:pt x="2" y="84"/>
                      <a:pt x="2" y="84"/>
                    </a:cubicBezTo>
                    <a:close/>
                    <a:moveTo>
                      <a:pt x="4" y="74"/>
                    </a:moveTo>
                    <a:cubicBezTo>
                      <a:pt x="4" y="79"/>
                      <a:pt x="4" y="79"/>
                      <a:pt x="4" y="79"/>
                    </a:cubicBezTo>
                    <a:cubicBezTo>
                      <a:pt x="155" y="10"/>
                      <a:pt x="155" y="10"/>
                      <a:pt x="155" y="10"/>
                    </a:cubicBezTo>
                    <a:cubicBezTo>
                      <a:pt x="155" y="5"/>
                      <a:pt x="155" y="5"/>
                      <a:pt x="155" y="5"/>
                    </a:cubicBezTo>
                    <a:lnTo>
                      <a:pt x="4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43"/>
              <p:cNvSpPr>
                <a:spLocks noEditPoints="1"/>
              </p:cNvSpPr>
              <p:nvPr/>
            </p:nvSpPr>
            <p:spPr bwMode="gray">
              <a:xfrm>
                <a:off x="3184" y="1802"/>
                <a:ext cx="190" cy="122"/>
              </a:xfrm>
              <a:custGeom>
                <a:avLst/>
                <a:gdLst>
                  <a:gd name="T0" fmla="*/ 78 w 80"/>
                  <a:gd name="T1" fmla="*/ 51 h 51"/>
                  <a:gd name="T2" fmla="*/ 77 w 80"/>
                  <a:gd name="T3" fmla="*/ 51 h 51"/>
                  <a:gd name="T4" fmla="*/ 77 w 80"/>
                  <a:gd name="T5" fmla="*/ 51 h 51"/>
                  <a:gd name="T6" fmla="*/ 1 w 80"/>
                  <a:gd name="T7" fmla="*/ 16 h 51"/>
                  <a:gd name="T8" fmla="*/ 0 w 80"/>
                  <a:gd name="T9" fmla="*/ 14 h 51"/>
                  <a:gd name="T10" fmla="*/ 0 w 80"/>
                  <a:gd name="T11" fmla="*/ 2 h 51"/>
                  <a:gd name="T12" fmla="*/ 1 w 80"/>
                  <a:gd name="T13" fmla="*/ 1 h 51"/>
                  <a:gd name="T14" fmla="*/ 2 w 80"/>
                  <a:gd name="T15" fmla="*/ 0 h 51"/>
                  <a:gd name="T16" fmla="*/ 10 w 80"/>
                  <a:gd name="T17" fmla="*/ 4 h 51"/>
                  <a:gd name="T18" fmla="*/ 10 w 80"/>
                  <a:gd name="T19" fmla="*/ 4 h 51"/>
                  <a:gd name="T20" fmla="*/ 79 w 80"/>
                  <a:gd name="T21" fmla="*/ 35 h 51"/>
                  <a:gd name="T22" fmla="*/ 80 w 80"/>
                  <a:gd name="T23" fmla="*/ 37 h 51"/>
                  <a:gd name="T24" fmla="*/ 80 w 80"/>
                  <a:gd name="T25" fmla="*/ 49 h 51"/>
                  <a:gd name="T26" fmla="*/ 79 w 80"/>
                  <a:gd name="T27" fmla="*/ 50 h 51"/>
                  <a:gd name="T28" fmla="*/ 78 w 80"/>
                  <a:gd name="T29" fmla="*/ 51 h 51"/>
                  <a:gd name="T30" fmla="*/ 4 w 80"/>
                  <a:gd name="T31" fmla="*/ 13 h 51"/>
                  <a:gd name="T32" fmla="*/ 76 w 80"/>
                  <a:gd name="T33" fmla="*/ 46 h 51"/>
                  <a:gd name="T34" fmla="*/ 76 w 80"/>
                  <a:gd name="T35" fmla="*/ 38 h 51"/>
                  <a:gd name="T36" fmla="*/ 9 w 80"/>
                  <a:gd name="T37" fmla="*/ 8 h 51"/>
                  <a:gd name="T38" fmla="*/ 9 w 80"/>
                  <a:gd name="T39" fmla="*/ 8 h 51"/>
                  <a:gd name="T40" fmla="*/ 4 w 80"/>
                  <a:gd name="T41" fmla="*/ 5 h 51"/>
                  <a:gd name="T42" fmla="*/ 4 w 80"/>
                  <a:gd name="T43" fmla="*/ 1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0" h="51">
                    <a:moveTo>
                      <a:pt x="78" y="51"/>
                    </a:moveTo>
                    <a:cubicBezTo>
                      <a:pt x="78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79" y="35"/>
                      <a:pt x="79" y="35"/>
                      <a:pt x="79" y="35"/>
                    </a:cubicBezTo>
                    <a:cubicBezTo>
                      <a:pt x="80" y="35"/>
                      <a:pt x="80" y="36"/>
                      <a:pt x="80" y="37"/>
                    </a:cubicBezTo>
                    <a:cubicBezTo>
                      <a:pt x="80" y="49"/>
                      <a:pt x="80" y="49"/>
                      <a:pt x="80" y="49"/>
                    </a:cubicBezTo>
                    <a:cubicBezTo>
                      <a:pt x="80" y="49"/>
                      <a:pt x="80" y="50"/>
                      <a:pt x="79" y="50"/>
                    </a:cubicBezTo>
                    <a:cubicBezTo>
                      <a:pt x="79" y="51"/>
                      <a:pt x="78" y="51"/>
                      <a:pt x="78" y="51"/>
                    </a:cubicBezTo>
                    <a:close/>
                    <a:moveTo>
                      <a:pt x="4" y="13"/>
                    </a:moveTo>
                    <a:cubicBezTo>
                      <a:pt x="76" y="46"/>
                      <a:pt x="76" y="46"/>
                      <a:pt x="76" y="46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44"/>
              <p:cNvSpPr>
                <a:spLocks noEditPoints="1"/>
              </p:cNvSpPr>
              <p:nvPr/>
            </p:nvSpPr>
            <p:spPr bwMode="gray">
              <a:xfrm>
                <a:off x="3364" y="1859"/>
                <a:ext cx="67" cy="65"/>
              </a:xfrm>
              <a:custGeom>
                <a:avLst/>
                <a:gdLst>
                  <a:gd name="T0" fmla="*/ 2 w 28"/>
                  <a:gd name="T1" fmla="*/ 27 h 27"/>
                  <a:gd name="T2" fmla="*/ 1 w 28"/>
                  <a:gd name="T3" fmla="*/ 26 h 27"/>
                  <a:gd name="T4" fmla="*/ 0 w 28"/>
                  <a:gd name="T5" fmla="*/ 25 h 27"/>
                  <a:gd name="T6" fmla="*/ 0 w 28"/>
                  <a:gd name="T7" fmla="*/ 13 h 27"/>
                  <a:gd name="T8" fmla="*/ 1 w 28"/>
                  <a:gd name="T9" fmla="*/ 11 h 27"/>
                  <a:gd name="T10" fmla="*/ 25 w 28"/>
                  <a:gd name="T11" fmla="*/ 0 h 27"/>
                  <a:gd name="T12" fmla="*/ 27 w 28"/>
                  <a:gd name="T13" fmla="*/ 0 h 27"/>
                  <a:gd name="T14" fmla="*/ 28 w 28"/>
                  <a:gd name="T15" fmla="*/ 2 h 27"/>
                  <a:gd name="T16" fmla="*/ 28 w 28"/>
                  <a:gd name="T17" fmla="*/ 14 h 27"/>
                  <a:gd name="T18" fmla="*/ 27 w 28"/>
                  <a:gd name="T19" fmla="*/ 15 h 27"/>
                  <a:gd name="T20" fmla="*/ 3 w 28"/>
                  <a:gd name="T21" fmla="*/ 27 h 27"/>
                  <a:gd name="T22" fmla="*/ 2 w 28"/>
                  <a:gd name="T23" fmla="*/ 27 h 27"/>
                  <a:gd name="T24" fmla="*/ 4 w 28"/>
                  <a:gd name="T25" fmla="*/ 14 h 27"/>
                  <a:gd name="T26" fmla="*/ 4 w 28"/>
                  <a:gd name="T27" fmla="*/ 22 h 27"/>
                  <a:gd name="T28" fmla="*/ 24 w 28"/>
                  <a:gd name="T29" fmla="*/ 12 h 27"/>
                  <a:gd name="T30" fmla="*/ 24 w 28"/>
                  <a:gd name="T31" fmla="*/ 5 h 27"/>
                  <a:gd name="T32" fmla="*/ 4 w 28"/>
                  <a:gd name="T33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27">
                    <a:moveTo>
                      <a:pt x="2" y="27"/>
                    </a:moveTo>
                    <a:cubicBezTo>
                      <a:pt x="2" y="27"/>
                      <a:pt x="1" y="27"/>
                      <a:pt x="1" y="26"/>
                    </a:cubicBezTo>
                    <a:cubicBezTo>
                      <a:pt x="0" y="26"/>
                      <a:pt x="0" y="25"/>
                      <a:pt x="0" y="2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2"/>
                      <a:pt x="1" y="11"/>
                      <a:pt x="1" y="11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6" y="0"/>
                      <a:pt x="26" y="0"/>
                      <a:pt x="27" y="0"/>
                    </a:cubicBezTo>
                    <a:cubicBezTo>
                      <a:pt x="28" y="1"/>
                      <a:pt x="28" y="1"/>
                      <a:pt x="28" y="2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8" y="14"/>
                      <a:pt x="28" y="15"/>
                      <a:pt x="27" y="15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3" y="27"/>
                      <a:pt x="2" y="27"/>
                      <a:pt x="2" y="27"/>
                    </a:cubicBezTo>
                    <a:close/>
                    <a:moveTo>
                      <a:pt x="4" y="14"/>
                    </a:moveTo>
                    <a:cubicBezTo>
                      <a:pt x="4" y="22"/>
                      <a:pt x="4" y="22"/>
                      <a:pt x="4" y="22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5"/>
                      <a:pt x="24" y="5"/>
                      <a:pt x="24" y="5"/>
                    </a:cubicBez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45"/>
              <p:cNvSpPr>
                <a:spLocks noEditPoints="1"/>
              </p:cNvSpPr>
              <p:nvPr/>
            </p:nvSpPr>
            <p:spPr bwMode="gray">
              <a:xfrm>
                <a:off x="4118" y="2054"/>
                <a:ext cx="378" cy="207"/>
              </a:xfrm>
              <a:custGeom>
                <a:avLst/>
                <a:gdLst>
                  <a:gd name="T0" fmla="*/ 2 w 159"/>
                  <a:gd name="T1" fmla="*/ 87 h 87"/>
                  <a:gd name="T2" fmla="*/ 1 w 159"/>
                  <a:gd name="T3" fmla="*/ 87 h 87"/>
                  <a:gd name="T4" fmla="*/ 0 w 159"/>
                  <a:gd name="T5" fmla="*/ 85 h 87"/>
                  <a:gd name="T6" fmla="*/ 0 w 159"/>
                  <a:gd name="T7" fmla="*/ 73 h 87"/>
                  <a:gd name="T8" fmla="*/ 1 w 159"/>
                  <a:gd name="T9" fmla="*/ 71 h 87"/>
                  <a:gd name="T10" fmla="*/ 149 w 159"/>
                  <a:gd name="T11" fmla="*/ 4 h 87"/>
                  <a:gd name="T12" fmla="*/ 149 w 159"/>
                  <a:gd name="T13" fmla="*/ 4 h 87"/>
                  <a:gd name="T14" fmla="*/ 157 w 159"/>
                  <a:gd name="T15" fmla="*/ 1 h 87"/>
                  <a:gd name="T16" fmla="*/ 158 w 159"/>
                  <a:gd name="T17" fmla="*/ 1 h 87"/>
                  <a:gd name="T18" fmla="*/ 159 w 159"/>
                  <a:gd name="T19" fmla="*/ 2 h 87"/>
                  <a:gd name="T20" fmla="*/ 159 w 159"/>
                  <a:gd name="T21" fmla="*/ 14 h 87"/>
                  <a:gd name="T22" fmla="*/ 158 w 159"/>
                  <a:gd name="T23" fmla="*/ 16 h 87"/>
                  <a:gd name="T24" fmla="*/ 3 w 159"/>
                  <a:gd name="T25" fmla="*/ 87 h 87"/>
                  <a:gd name="T26" fmla="*/ 2 w 159"/>
                  <a:gd name="T27" fmla="*/ 87 h 87"/>
                  <a:gd name="T28" fmla="*/ 4 w 159"/>
                  <a:gd name="T29" fmla="*/ 74 h 87"/>
                  <a:gd name="T30" fmla="*/ 4 w 159"/>
                  <a:gd name="T31" fmla="*/ 82 h 87"/>
                  <a:gd name="T32" fmla="*/ 155 w 159"/>
                  <a:gd name="T33" fmla="*/ 13 h 87"/>
                  <a:gd name="T34" fmla="*/ 155 w 159"/>
                  <a:gd name="T35" fmla="*/ 5 h 87"/>
                  <a:gd name="T36" fmla="*/ 150 w 159"/>
                  <a:gd name="T37" fmla="*/ 8 h 87"/>
                  <a:gd name="T38" fmla="*/ 150 w 159"/>
                  <a:gd name="T39" fmla="*/ 8 h 87"/>
                  <a:gd name="T40" fmla="*/ 4 w 159"/>
                  <a:gd name="T41" fmla="*/ 7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9" h="87">
                    <a:moveTo>
                      <a:pt x="2" y="87"/>
                    </a:moveTo>
                    <a:cubicBezTo>
                      <a:pt x="2" y="87"/>
                      <a:pt x="1" y="87"/>
                      <a:pt x="1" y="87"/>
                    </a:cubicBezTo>
                    <a:cubicBezTo>
                      <a:pt x="0" y="86"/>
                      <a:pt x="0" y="86"/>
                      <a:pt x="0" y="85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149" y="4"/>
                      <a:pt x="149" y="4"/>
                      <a:pt x="149" y="4"/>
                    </a:cubicBezTo>
                    <a:cubicBezTo>
                      <a:pt x="149" y="4"/>
                      <a:pt x="149" y="4"/>
                      <a:pt x="149" y="4"/>
                    </a:cubicBezTo>
                    <a:cubicBezTo>
                      <a:pt x="157" y="1"/>
                      <a:pt x="157" y="1"/>
                      <a:pt x="157" y="1"/>
                    </a:cubicBezTo>
                    <a:cubicBezTo>
                      <a:pt x="157" y="0"/>
                      <a:pt x="158" y="0"/>
                      <a:pt x="158" y="1"/>
                    </a:cubicBezTo>
                    <a:cubicBezTo>
                      <a:pt x="159" y="1"/>
                      <a:pt x="159" y="2"/>
                      <a:pt x="159" y="2"/>
                    </a:cubicBezTo>
                    <a:cubicBezTo>
                      <a:pt x="159" y="14"/>
                      <a:pt x="159" y="14"/>
                      <a:pt x="159" y="14"/>
                    </a:cubicBezTo>
                    <a:cubicBezTo>
                      <a:pt x="159" y="15"/>
                      <a:pt x="159" y="16"/>
                      <a:pt x="158" y="16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3" y="87"/>
                      <a:pt x="2" y="87"/>
                      <a:pt x="2" y="87"/>
                    </a:cubicBezTo>
                    <a:close/>
                    <a:moveTo>
                      <a:pt x="4" y="74"/>
                    </a:moveTo>
                    <a:cubicBezTo>
                      <a:pt x="4" y="82"/>
                      <a:pt x="4" y="82"/>
                      <a:pt x="4" y="82"/>
                    </a:cubicBezTo>
                    <a:cubicBezTo>
                      <a:pt x="155" y="13"/>
                      <a:pt x="155" y="13"/>
                      <a:pt x="155" y="13"/>
                    </a:cubicBezTo>
                    <a:cubicBezTo>
                      <a:pt x="155" y="5"/>
                      <a:pt x="155" y="5"/>
                      <a:pt x="155" y="5"/>
                    </a:cubicBezTo>
                    <a:cubicBezTo>
                      <a:pt x="150" y="8"/>
                      <a:pt x="150" y="8"/>
                      <a:pt x="150" y="8"/>
                    </a:cubicBezTo>
                    <a:cubicBezTo>
                      <a:pt x="150" y="8"/>
                      <a:pt x="150" y="8"/>
                      <a:pt x="150" y="8"/>
                    </a:cubicBezTo>
                    <a:lnTo>
                      <a:pt x="4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46"/>
              <p:cNvSpPr>
                <a:spLocks noEditPoints="1"/>
              </p:cNvSpPr>
              <p:nvPr/>
            </p:nvSpPr>
            <p:spPr bwMode="gray">
              <a:xfrm>
                <a:off x="3222" y="1653"/>
                <a:ext cx="340" cy="171"/>
              </a:xfrm>
              <a:custGeom>
                <a:avLst/>
                <a:gdLst>
                  <a:gd name="T0" fmla="*/ 13 w 143"/>
                  <a:gd name="T1" fmla="*/ 72 h 72"/>
                  <a:gd name="T2" fmla="*/ 12 w 143"/>
                  <a:gd name="T3" fmla="*/ 72 h 72"/>
                  <a:gd name="T4" fmla="*/ 1 w 143"/>
                  <a:gd name="T5" fmla="*/ 67 h 72"/>
                  <a:gd name="T6" fmla="*/ 1 w 143"/>
                  <a:gd name="T7" fmla="*/ 67 h 72"/>
                  <a:gd name="T8" fmla="*/ 1 w 143"/>
                  <a:gd name="T9" fmla="*/ 67 h 72"/>
                  <a:gd name="T10" fmla="*/ 0 w 143"/>
                  <a:gd name="T11" fmla="*/ 65 h 72"/>
                  <a:gd name="T12" fmla="*/ 1 w 143"/>
                  <a:gd name="T13" fmla="*/ 63 h 72"/>
                  <a:gd name="T14" fmla="*/ 140 w 143"/>
                  <a:gd name="T15" fmla="*/ 0 h 72"/>
                  <a:gd name="T16" fmla="*/ 142 w 143"/>
                  <a:gd name="T17" fmla="*/ 0 h 72"/>
                  <a:gd name="T18" fmla="*/ 143 w 143"/>
                  <a:gd name="T19" fmla="*/ 2 h 72"/>
                  <a:gd name="T20" fmla="*/ 143 w 143"/>
                  <a:gd name="T21" fmla="*/ 12 h 72"/>
                  <a:gd name="T22" fmla="*/ 142 w 143"/>
                  <a:gd name="T23" fmla="*/ 14 h 72"/>
                  <a:gd name="T24" fmla="*/ 14 w 143"/>
                  <a:gd name="T25" fmla="*/ 72 h 72"/>
                  <a:gd name="T26" fmla="*/ 13 w 143"/>
                  <a:gd name="T27" fmla="*/ 72 h 72"/>
                  <a:gd name="T28" fmla="*/ 7 w 143"/>
                  <a:gd name="T29" fmla="*/ 65 h 72"/>
                  <a:gd name="T30" fmla="*/ 13 w 143"/>
                  <a:gd name="T31" fmla="*/ 68 h 72"/>
                  <a:gd name="T32" fmla="*/ 139 w 143"/>
                  <a:gd name="T33" fmla="*/ 11 h 72"/>
                  <a:gd name="T34" fmla="*/ 139 w 143"/>
                  <a:gd name="T35" fmla="*/ 5 h 72"/>
                  <a:gd name="T36" fmla="*/ 7 w 143"/>
                  <a:gd name="T37" fmla="*/ 6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3" h="72">
                    <a:moveTo>
                      <a:pt x="13" y="72"/>
                    </a:moveTo>
                    <a:cubicBezTo>
                      <a:pt x="12" y="72"/>
                      <a:pt x="12" y="72"/>
                      <a:pt x="12" y="72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0" y="67"/>
                      <a:pt x="0" y="66"/>
                      <a:pt x="0" y="65"/>
                    </a:cubicBezTo>
                    <a:cubicBezTo>
                      <a:pt x="0" y="65"/>
                      <a:pt x="0" y="64"/>
                      <a:pt x="1" y="63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1" y="0"/>
                      <a:pt x="142" y="0"/>
                      <a:pt x="142" y="0"/>
                    </a:cubicBezTo>
                    <a:cubicBezTo>
                      <a:pt x="143" y="1"/>
                      <a:pt x="143" y="1"/>
                      <a:pt x="143" y="2"/>
                    </a:cubicBezTo>
                    <a:cubicBezTo>
                      <a:pt x="143" y="12"/>
                      <a:pt x="143" y="12"/>
                      <a:pt x="143" y="12"/>
                    </a:cubicBezTo>
                    <a:cubicBezTo>
                      <a:pt x="143" y="13"/>
                      <a:pt x="143" y="13"/>
                      <a:pt x="142" y="14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13" y="72"/>
                      <a:pt x="13" y="72"/>
                      <a:pt x="13" y="72"/>
                    </a:cubicBezTo>
                    <a:close/>
                    <a:moveTo>
                      <a:pt x="7" y="65"/>
                    </a:moveTo>
                    <a:cubicBezTo>
                      <a:pt x="13" y="68"/>
                      <a:pt x="13" y="68"/>
                      <a:pt x="13" y="68"/>
                    </a:cubicBezTo>
                    <a:cubicBezTo>
                      <a:pt x="139" y="11"/>
                      <a:pt x="139" y="11"/>
                      <a:pt x="139" y="11"/>
                    </a:cubicBezTo>
                    <a:cubicBezTo>
                      <a:pt x="139" y="5"/>
                      <a:pt x="139" y="5"/>
                      <a:pt x="139" y="5"/>
                    </a:cubicBezTo>
                    <a:lnTo>
                      <a:pt x="7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47"/>
              <p:cNvSpPr>
                <a:spLocks noEditPoints="1"/>
              </p:cNvSpPr>
              <p:nvPr/>
            </p:nvSpPr>
            <p:spPr bwMode="gray">
              <a:xfrm>
                <a:off x="3552" y="1653"/>
                <a:ext cx="906" cy="423"/>
              </a:xfrm>
              <a:custGeom>
                <a:avLst/>
                <a:gdLst>
                  <a:gd name="T0" fmla="*/ 368 w 381"/>
                  <a:gd name="T1" fmla="*/ 178 h 178"/>
                  <a:gd name="T2" fmla="*/ 368 w 381"/>
                  <a:gd name="T3" fmla="*/ 178 h 178"/>
                  <a:gd name="T4" fmla="*/ 1 w 381"/>
                  <a:gd name="T5" fmla="*/ 14 h 178"/>
                  <a:gd name="T6" fmla="*/ 0 w 381"/>
                  <a:gd name="T7" fmla="*/ 12 h 178"/>
                  <a:gd name="T8" fmla="*/ 0 w 381"/>
                  <a:gd name="T9" fmla="*/ 2 h 178"/>
                  <a:gd name="T10" fmla="*/ 1 w 381"/>
                  <a:gd name="T11" fmla="*/ 0 h 178"/>
                  <a:gd name="T12" fmla="*/ 3 w 381"/>
                  <a:gd name="T13" fmla="*/ 0 h 178"/>
                  <a:gd name="T14" fmla="*/ 380 w 381"/>
                  <a:gd name="T15" fmla="*/ 170 h 178"/>
                  <a:gd name="T16" fmla="*/ 381 w 381"/>
                  <a:gd name="T17" fmla="*/ 171 h 178"/>
                  <a:gd name="T18" fmla="*/ 380 w 381"/>
                  <a:gd name="T19" fmla="*/ 173 h 178"/>
                  <a:gd name="T20" fmla="*/ 369 w 381"/>
                  <a:gd name="T21" fmla="*/ 178 h 178"/>
                  <a:gd name="T22" fmla="*/ 368 w 381"/>
                  <a:gd name="T23" fmla="*/ 178 h 178"/>
                  <a:gd name="T24" fmla="*/ 4 w 381"/>
                  <a:gd name="T25" fmla="*/ 11 h 178"/>
                  <a:gd name="T26" fmla="*/ 368 w 381"/>
                  <a:gd name="T27" fmla="*/ 174 h 178"/>
                  <a:gd name="T28" fmla="*/ 375 w 381"/>
                  <a:gd name="T29" fmla="*/ 171 h 178"/>
                  <a:gd name="T30" fmla="*/ 4 w 381"/>
                  <a:gd name="T31" fmla="*/ 5 h 178"/>
                  <a:gd name="T32" fmla="*/ 4 w 381"/>
                  <a:gd name="T33" fmla="*/ 11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1" h="178">
                    <a:moveTo>
                      <a:pt x="368" y="178"/>
                    </a:moveTo>
                    <a:cubicBezTo>
                      <a:pt x="368" y="178"/>
                      <a:pt x="368" y="178"/>
                      <a:pt x="368" y="17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13"/>
                      <a:pt x="0" y="13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380" y="170"/>
                      <a:pt x="380" y="170"/>
                      <a:pt x="380" y="170"/>
                    </a:cubicBezTo>
                    <a:cubicBezTo>
                      <a:pt x="381" y="170"/>
                      <a:pt x="381" y="171"/>
                      <a:pt x="381" y="171"/>
                    </a:cubicBezTo>
                    <a:cubicBezTo>
                      <a:pt x="381" y="172"/>
                      <a:pt x="381" y="173"/>
                      <a:pt x="380" y="173"/>
                    </a:cubicBezTo>
                    <a:cubicBezTo>
                      <a:pt x="369" y="178"/>
                      <a:pt x="369" y="178"/>
                      <a:pt x="369" y="178"/>
                    </a:cubicBezTo>
                    <a:cubicBezTo>
                      <a:pt x="369" y="178"/>
                      <a:pt x="369" y="178"/>
                      <a:pt x="368" y="178"/>
                    </a:cubicBezTo>
                    <a:close/>
                    <a:moveTo>
                      <a:pt x="4" y="11"/>
                    </a:moveTo>
                    <a:cubicBezTo>
                      <a:pt x="368" y="174"/>
                      <a:pt x="368" y="174"/>
                      <a:pt x="368" y="174"/>
                    </a:cubicBezTo>
                    <a:cubicBezTo>
                      <a:pt x="375" y="171"/>
                      <a:pt x="375" y="171"/>
                      <a:pt x="375" y="171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48"/>
              <p:cNvSpPr>
                <a:spLocks noEditPoints="1"/>
              </p:cNvSpPr>
              <p:nvPr/>
            </p:nvSpPr>
            <p:spPr bwMode="gray">
              <a:xfrm>
                <a:off x="3932" y="2475"/>
                <a:ext cx="564" cy="188"/>
              </a:xfrm>
              <a:custGeom>
                <a:avLst/>
                <a:gdLst>
                  <a:gd name="T0" fmla="*/ 80 w 237"/>
                  <a:gd name="T1" fmla="*/ 79 h 79"/>
                  <a:gd name="T2" fmla="*/ 79 w 237"/>
                  <a:gd name="T3" fmla="*/ 79 h 79"/>
                  <a:gd name="T4" fmla="*/ 1 w 237"/>
                  <a:gd name="T5" fmla="*/ 44 h 79"/>
                  <a:gd name="T6" fmla="*/ 0 w 237"/>
                  <a:gd name="T7" fmla="*/ 42 h 79"/>
                  <a:gd name="T8" fmla="*/ 1 w 237"/>
                  <a:gd name="T9" fmla="*/ 40 h 79"/>
                  <a:gd name="T10" fmla="*/ 9 w 237"/>
                  <a:gd name="T11" fmla="*/ 36 h 79"/>
                  <a:gd name="T12" fmla="*/ 10 w 237"/>
                  <a:gd name="T13" fmla="*/ 36 h 79"/>
                  <a:gd name="T14" fmla="*/ 11 w 237"/>
                  <a:gd name="T15" fmla="*/ 38 h 79"/>
                  <a:gd name="T16" fmla="*/ 11 w 237"/>
                  <a:gd name="T17" fmla="*/ 40 h 79"/>
                  <a:gd name="T18" fmla="*/ 80 w 237"/>
                  <a:gd name="T19" fmla="*/ 71 h 79"/>
                  <a:gd name="T20" fmla="*/ 226 w 237"/>
                  <a:gd name="T21" fmla="*/ 5 h 79"/>
                  <a:gd name="T22" fmla="*/ 226 w 237"/>
                  <a:gd name="T23" fmla="*/ 3 h 79"/>
                  <a:gd name="T24" fmla="*/ 226 w 237"/>
                  <a:gd name="T25" fmla="*/ 1 h 79"/>
                  <a:gd name="T26" fmla="*/ 228 w 237"/>
                  <a:gd name="T27" fmla="*/ 1 h 79"/>
                  <a:gd name="T28" fmla="*/ 236 w 237"/>
                  <a:gd name="T29" fmla="*/ 4 h 79"/>
                  <a:gd name="T30" fmla="*/ 237 w 237"/>
                  <a:gd name="T31" fmla="*/ 6 h 79"/>
                  <a:gd name="T32" fmla="*/ 236 w 237"/>
                  <a:gd name="T33" fmla="*/ 8 h 79"/>
                  <a:gd name="T34" fmla="*/ 81 w 237"/>
                  <a:gd name="T35" fmla="*/ 79 h 79"/>
                  <a:gd name="T36" fmla="*/ 80 w 237"/>
                  <a:gd name="T37" fmla="*/ 79 h 79"/>
                  <a:gd name="T38" fmla="*/ 6 w 237"/>
                  <a:gd name="T39" fmla="*/ 42 h 79"/>
                  <a:gd name="T40" fmla="*/ 7 w 237"/>
                  <a:gd name="T41" fmla="*/ 42 h 79"/>
                  <a:gd name="T42" fmla="*/ 7 w 237"/>
                  <a:gd name="T43" fmla="*/ 42 h 79"/>
                  <a:gd name="T44" fmla="*/ 7 w 237"/>
                  <a:gd name="T45" fmla="*/ 41 h 79"/>
                  <a:gd name="T46" fmla="*/ 6 w 237"/>
                  <a:gd name="T47" fmla="*/ 42 h 79"/>
                  <a:gd name="T48" fmla="*/ 230 w 237"/>
                  <a:gd name="T49" fmla="*/ 6 h 79"/>
                  <a:gd name="T50" fmla="*/ 230 w 237"/>
                  <a:gd name="T51" fmla="*/ 6 h 79"/>
                  <a:gd name="T52" fmla="*/ 229 w 237"/>
                  <a:gd name="T53" fmla="*/ 7 h 79"/>
                  <a:gd name="T54" fmla="*/ 231 w 237"/>
                  <a:gd name="T55" fmla="*/ 6 h 79"/>
                  <a:gd name="T56" fmla="*/ 230 w 237"/>
                  <a:gd name="T57" fmla="*/ 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7" h="79">
                    <a:moveTo>
                      <a:pt x="80" y="79"/>
                    </a:moveTo>
                    <a:cubicBezTo>
                      <a:pt x="80" y="79"/>
                      <a:pt x="79" y="79"/>
                      <a:pt x="79" y="79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3"/>
                      <a:pt x="0" y="43"/>
                      <a:pt x="0" y="42"/>
                    </a:cubicBezTo>
                    <a:cubicBezTo>
                      <a:pt x="0" y="41"/>
                      <a:pt x="0" y="40"/>
                      <a:pt x="1" y="40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6"/>
                      <a:pt x="10" y="36"/>
                      <a:pt x="10" y="36"/>
                    </a:cubicBezTo>
                    <a:cubicBezTo>
                      <a:pt x="11" y="37"/>
                      <a:pt x="11" y="37"/>
                      <a:pt x="11" y="38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226" y="5"/>
                      <a:pt x="226" y="5"/>
                      <a:pt x="226" y="5"/>
                    </a:cubicBezTo>
                    <a:cubicBezTo>
                      <a:pt x="226" y="3"/>
                      <a:pt x="226" y="3"/>
                      <a:pt x="226" y="3"/>
                    </a:cubicBezTo>
                    <a:cubicBezTo>
                      <a:pt x="226" y="2"/>
                      <a:pt x="226" y="1"/>
                      <a:pt x="226" y="1"/>
                    </a:cubicBezTo>
                    <a:cubicBezTo>
                      <a:pt x="227" y="0"/>
                      <a:pt x="228" y="0"/>
                      <a:pt x="228" y="1"/>
                    </a:cubicBezTo>
                    <a:cubicBezTo>
                      <a:pt x="236" y="4"/>
                      <a:pt x="236" y="4"/>
                      <a:pt x="236" y="4"/>
                    </a:cubicBezTo>
                    <a:cubicBezTo>
                      <a:pt x="237" y="5"/>
                      <a:pt x="237" y="5"/>
                      <a:pt x="237" y="6"/>
                    </a:cubicBezTo>
                    <a:cubicBezTo>
                      <a:pt x="237" y="7"/>
                      <a:pt x="237" y="8"/>
                      <a:pt x="236" y="8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1" y="79"/>
                      <a:pt x="80" y="79"/>
                      <a:pt x="80" y="79"/>
                    </a:cubicBezTo>
                    <a:close/>
                    <a:moveTo>
                      <a:pt x="6" y="42"/>
                    </a:moveTo>
                    <a:cubicBezTo>
                      <a:pt x="7" y="42"/>
                      <a:pt x="7" y="42"/>
                      <a:pt x="7" y="42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7" y="41"/>
                      <a:pt x="7" y="41"/>
                      <a:pt x="7" y="41"/>
                    </a:cubicBezTo>
                    <a:lnTo>
                      <a:pt x="6" y="42"/>
                    </a:lnTo>
                    <a:close/>
                    <a:moveTo>
                      <a:pt x="230" y="6"/>
                    </a:moveTo>
                    <a:cubicBezTo>
                      <a:pt x="230" y="6"/>
                      <a:pt x="230" y="6"/>
                      <a:pt x="230" y="6"/>
                    </a:cubicBezTo>
                    <a:cubicBezTo>
                      <a:pt x="230" y="6"/>
                      <a:pt x="229" y="6"/>
                      <a:pt x="229" y="7"/>
                    </a:cubicBezTo>
                    <a:cubicBezTo>
                      <a:pt x="231" y="6"/>
                      <a:pt x="231" y="6"/>
                      <a:pt x="231" y="6"/>
                    </a:cubicBezTo>
                    <a:lnTo>
                      <a:pt x="230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49"/>
              <p:cNvSpPr>
                <a:spLocks/>
              </p:cNvSpPr>
              <p:nvPr/>
            </p:nvSpPr>
            <p:spPr bwMode="gray">
              <a:xfrm>
                <a:off x="3811" y="2451"/>
                <a:ext cx="147" cy="81"/>
              </a:xfrm>
              <a:custGeom>
                <a:avLst/>
                <a:gdLst>
                  <a:gd name="T0" fmla="*/ 60 w 62"/>
                  <a:gd name="T1" fmla="*/ 34 h 34"/>
                  <a:gd name="T2" fmla="*/ 60 w 62"/>
                  <a:gd name="T3" fmla="*/ 34 h 34"/>
                  <a:gd name="T4" fmla="*/ 16 w 62"/>
                  <a:gd name="T5" fmla="*/ 14 h 34"/>
                  <a:gd name="T6" fmla="*/ 15 w 62"/>
                  <a:gd name="T7" fmla="*/ 14 h 34"/>
                  <a:gd name="T8" fmla="*/ 1 w 62"/>
                  <a:gd name="T9" fmla="*/ 8 h 34"/>
                  <a:gd name="T10" fmla="*/ 0 w 62"/>
                  <a:gd name="T11" fmla="*/ 6 h 34"/>
                  <a:gd name="T12" fmla="*/ 0 w 62"/>
                  <a:gd name="T13" fmla="*/ 4 h 34"/>
                  <a:gd name="T14" fmla="*/ 0 w 62"/>
                  <a:gd name="T15" fmla="*/ 2 h 34"/>
                  <a:gd name="T16" fmla="*/ 1 w 62"/>
                  <a:gd name="T17" fmla="*/ 1 h 34"/>
                  <a:gd name="T18" fmla="*/ 3 w 62"/>
                  <a:gd name="T19" fmla="*/ 1 h 34"/>
                  <a:gd name="T20" fmla="*/ 61 w 62"/>
                  <a:gd name="T21" fmla="*/ 27 h 34"/>
                  <a:gd name="T22" fmla="*/ 62 w 62"/>
                  <a:gd name="T23" fmla="*/ 29 h 34"/>
                  <a:gd name="T24" fmla="*/ 62 w 62"/>
                  <a:gd name="T25" fmla="*/ 32 h 34"/>
                  <a:gd name="T26" fmla="*/ 61 w 62"/>
                  <a:gd name="T27" fmla="*/ 34 h 34"/>
                  <a:gd name="T28" fmla="*/ 60 w 62"/>
                  <a:gd name="T2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2" h="34">
                    <a:moveTo>
                      <a:pt x="60" y="34"/>
                    </a:moveTo>
                    <a:cubicBezTo>
                      <a:pt x="60" y="34"/>
                      <a:pt x="60" y="34"/>
                      <a:pt x="60" y="3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61" y="27"/>
                      <a:pt x="61" y="27"/>
                      <a:pt x="61" y="27"/>
                    </a:cubicBezTo>
                    <a:cubicBezTo>
                      <a:pt x="62" y="27"/>
                      <a:pt x="62" y="28"/>
                      <a:pt x="62" y="29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2" y="33"/>
                      <a:pt x="62" y="34"/>
                      <a:pt x="61" y="34"/>
                    </a:cubicBezTo>
                    <a:cubicBezTo>
                      <a:pt x="61" y="34"/>
                      <a:pt x="61" y="34"/>
                      <a:pt x="6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50"/>
              <p:cNvSpPr>
                <a:spLocks noEditPoints="1"/>
              </p:cNvSpPr>
              <p:nvPr/>
            </p:nvSpPr>
            <p:spPr bwMode="gray">
              <a:xfrm>
                <a:off x="3184" y="2223"/>
                <a:ext cx="413" cy="143"/>
              </a:xfrm>
              <a:custGeom>
                <a:avLst/>
                <a:gdLst>
                  <a:gd name="T0" fmla="*/ 169 w 174"/>
                  <a:gd name="T1" fmla="*/ 60 h 60"/>
                  <a:gd name="T2" fmla="*/ 168 w 174"/>
                  <a:gd name="T3" fmla="*/ 60 h 60"/>
                  <a:gd name="T4" fmla="*/ 166 w 174"/>
                  <a:gd name="T5" fmla="*/ 59 h 60"/>
                  <a:gd name="T6" fmla="*/ 165 w 174"/>
                  <a:gd name="T7" fmla="*/ 59 h 60"/>
                  <a:gd name="T8" fmla="*/ 103 w 174"/>
                  <a:gd name="T9" fmla="*/ 31 h 60"/>
                  <a:gd name="T10" fmla="*/ 79 w 174"/>
                  <a:gd name="T11" fmla="*/ 42 h 60"/>
                  <a:gd name="T12" fmla="*/ 77 w 174"/>
                  <a:gd name="T13" fmla="*/ 42 h 60"/>
                  <a:gd name="T14" fmla="*/ 75 w 174"/>
                  <a:gd name="T15" fmla="*/ 41 h 60"/>
                  <a:gd name="T16" fmla="*/ 75 w 174"/>
                  <a:gd name="T17" fmla="*/ 41 h 60"/>
                  <a:gd name="T18" fmla="*/ 1 w 174"/>
                  <a:gd name="T19" fmla="*/ 8 h 60"/>
                  <a:gd name="T20" fmla="*/ 0 w 174"/>
                  <a:gd name="T21" fmla="*/ 6 h 60"/>
                  <a:gd name="T22" fmla="*/ 1 w 174"/>
                  <a:gd name="T23" fmla="*/ 4 h 60"/>
                  <a:gd name="T24" fmla="*/ 9 w 174"/>
                  <a:gd name="T25" fmla="*/ 1 h 60"/>
                  <a:gd name="T26" fmla="*/ 11 w 174"/>
                  <a:gd name="T27" fmla="*/ 1 h 60"/>
                  <a:gd name="T28" fmla="*/ 11 w 174"/>
                  <a:gd name="T29" fmla="*/ 3 h 60"/>
                  <a:gd name="T30" fmla="*/ 11 w 174"/>
                  <a:gd name="T31" fmla="*/ 5 h 60"/>
                  <a:gd name="T32" fmla="*/ 78 w 174"/>
                  <a:gd name="T33" fmla="*/ 35 h 60"/>
                  <a:gd name="T34" fmla="*/ 102 w 174"/>
                  <a:gd name="T35" fmla="*/ 23 h 60"/>
                  <a:gd name="T36" fmla="*/ 104 w 174"/>
                  <a:gd name="T37" fmla="*/ 23 h 60"/>
                  <a:gd name="T38" fmla="*/ 172 w 174"/>
                  <a:gd name="T39" fmla="*/ 54 h 60"/>
                  <a:gd name="T40" fmla="*/ 174 w 174"/>
                  <a:gd name="T41" fmla="*/ 56 h 60"/>
                  <a:gd name="T42" fmla="*/ 174 w 174"/>
                  <a:gd name="T43" fmla="*/ 57 h 60"/>
                  <a:gd name="T44" fmla="*/ 172 w 174"/>
                  <a:gd name="T45" fmla="*/ 58 h 60"/>
                  <a:gd name="T46" fmla="*/ 170 w 174"/>
                  <a:gd name="T47" fmla="*/ 60 h 60"/>
                  <a:gd name="T48" fmla="*/ 169 w 174"/>
                  <a:gd name="T49" fmla="*/ 60 h 60"/>
                  <a:gd name="T50" fmla="*/ 6 w 174"/>
                  <a:gd name="T51" fmla="*/ 6 h 60"/>
                  <a:gd name="T52" fmla="*/ 8 w 174"/>
                  <a:gd name="T53" fmla="*/ 7 h 60"/>
                  <a:gd name="T54" fmla="*/ 7 w 174"/>
                  <a:gd name="T55" fmla="*/ 6 h 60"/>
                  <a:gd name="T56" fmla="*/ 7 w 174"/>
                  <a:gd name="T57" fmla="*/ 6 h 60"/>
                  <a:gd name="T58" fmla="*/ 7 w 174"/>
                  <a:gd name="T59" fmla="*/ 6 h 60"/>
                  <a:gd name="T60" fmla="*/ 7 w 174"/>
                  <a:gd name="T61" fmla="*/ 6 h 60"/>
                  <a:gd name="T62" fmla="*/ 6 w 174"/>
                  <a:gd name="T63" fmla="*/ 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74" h="60">
                    <a:moveTo>
                      <a:pt x="169" y="60"/>
                    </a:moveTo>
                    <a:cubicBezTo>
                      <a:pt x="168" y="60"/>
                      <a:pt x="168" y="60"/>
                      <a:pt x="168" y="60"/>
                    </a:cubicBezTo>
                    <a:cubicBezTo>
                      <a:pt x="166" y="59"/>
                      <a:pt x="166" y="59"/>
                      <a:pt x="166" y="59"/>
                    </a:cubicBezTo>
                    <a:cubicBezTo>
                      <a:pt x="166" y="59"/>
                      <a:pt x="165" y="59"/>
                      <a:pt x="165" y="59"/>
                    </a:cubicBezTo>
                    <a:cubicBezTo>
                      <a:pt x="103" y="31"/>
                      <a:pt x="103" y="31"/>
                      <a:pt x="103" y="31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8" y="43"/>
                      <a:pt x="78" y="43"/>
                      <a:pt x="77" y="42"/>
                    </a:cubicBezTo>
                    <a:cubicBezTo>
                      <a:pt x="75" y="41"/>
                      <a:pt x="75" y="41"/>
                      <a:pt x="75" y="41"/>
                    </a:cubicBezTo>
                    <a:cubicBezTo>
                      <a:pt x="75" y="41"/>
                      <a:pt x="75" y="41"/>
                      <a:pt x="75" y="41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6"/>
                    </a:cubicBezTo>
                    <a:cubicBezTo>
                      <a:pt x="0" y="5"/>
                      <a:pt x="0" y="5"/>
                      <a:pt x="1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10" y="0"/>
                      <a:pt x="11" y="1"/>
                    </a:cubicBezTo>
                    <a:cubicBezTo>
                      <a:pt x="11" y="1"/>
                      <a:pt x="11" y="2"/>
                      <a:pt x="11" y="3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78" y="35"/>
                      <a:pt x="78" y="35"/>
                      <a:pt x="78" y="35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3" y="23"/>
                      <a:pt x="104" y="23"/>
                      <a:pt x="104" y="23"/>
                    </a:cubicBezTo>
                    <a:cubicBezTo>
                      <a:pt x="172" y="54"/>
                      <a:pt x="172" y="54"/>
                      <a:pt x="172" y="54"/>
                    </a:cubicBezTo>
                    <a:cubicBezTo>
                      <a:pt x="173" y="54"/>
                      <a:pt x="174" y="55"/>
                      <a:pt x="174" y="56"/>
                    </a:cubicBezTo>
                    <a:cubicBezTo>
                      <a:pt x="174" y="57"/>
                      <a:pt x="174" y="57"/>
                      <a:pt x="174" y="57"/>
                    </a:cubicBezTo>
                    <a:cubicBezTo>
                      <a:pt x="174" y="57"/>
                      <a:pt x="173" y="58"/>
                      <a:pt x="172" y="58"/>
                    </a:cubicBezTo>
                    <a:cubicBezTo>
                      <a:pt x="171" y="59"/>
                      <a:pt x="170" y="59"/>
                      <a:pt x="170" y="60"/>
                    </a:cubicBezTo>
                    <a:cubicBezTo>
                      <a:pt x="169" y="60"/>
                      <a:pt x="169" y="60"/>
                      <a:pt x="169" y="60"/>
                    </a:cubicBezTo>
                    <a:close/>
                    <a:moveTo>
                      <a:pt x="6" y="6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8" y="6"/>
                      <a:pt x="7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51"/>
              <p:cNvSpPr>
                <a:spLocks noEditPoints="1"/>
              </p:cNvSpPr>
              <p:nvPr/>
            </p:nvSpPr>
            <p:spPr bwMode="gray">
              <a:xfrm>
                <a:off x="3469" y="2437"/>
                <a:ext cx="428" cy="119"/>
              </a:xfrm>
              <a:custGeom>
                <a:avLst/>
                <a:gdLst>
                  <a:gd name="T0" fmla="*/ 104 w 180"/>
                  <a:gd name="T1" fmla="*/ 50 h 50"/>
                  <a:gd name="T2" fmla="*/ 34 w 180"/>
                  <a:gd name="T3" fmla="*/ 39 h 50"/>
                  <a:gd name="T4" fmla="*/ 0 w 180"/>
                  <a:gd name="T5" fmla="*/ 5 h 50"/>
                  <a:gd name="T6" fmla="*/ 0 w 180"/>
                  <a:gd name="T7" fmla="*/ 5 h 50"/>
                  <a:gd name="T8" fmla="*/ 0 w 180"/>
                  <a:gd name="T9" fmla="*/ 4 h 50"/>
                  <a:gd name="T10" fmla="*/ 0 w 180"/>
                  <a:gd name="T11" fmla="*/ 2 h 50"/>
                  <a:gd name="T12" fmla="*/ 2 w 180"/>
                  <a:gd name="T13" fmla="*/ 0 h 50"/>
                  <a:gd name="T14" fmla="*/ 4 w 180"/>
                  <a:gd name="T15" fmla="*/ 2 h 50"/>
                  <a:gd name="T16" fmla="*/ 35 w 180"/>
                  <a:gd name="T17" fmla="*/ 31 h 50"/>
                  <a:gd name="T18" fmla="*/ 104 w 180"/>
                  <a:gd name="T19" fmla="*/ 41 h 50"/>
                  <a:gd name="T20" fmla="*/ 170 w 180"/>
                  <a:gd name="T21" fmla="*/ 32 h 50"/>
                  <a:gd name="T22" fmla="*/ 170 w 180"/>
                  <a:gd name="T23" fmla="*/ 32 h 50"/>
                  <a:gd name="T24" fmla="*/ 177 w 180"/>
                  <a:gd name="T25" fmla="*/ 29 h 50"/>
                  <a:gd name="T26" fmla="*/ 179 w 180"/>
                  <a:gd name="T27" fmla="*/ 29 h 50"/>
                  <a:gd name="T28" fmla="*/ 180 w 180"/>
                  <a:gd name="T29" fmla="*/ 31 h 50"/>
                  <a:gd name="T30" fmla="*/ 180 w 180"/>
                  <a:gd name="T31" fmla="*/ 36 h 50"/>
                  <a:gd name="T32" fmla="*/ 179 w 180"/>
                  <a:gd name="T33" fmla="*/ 37 h 50"/>
                  <a:gd name="T34" fmla="*/ 172 w 180"/>
                  <a:gd name="T35" fmla="*/ 40 h 50"/>
                  <a:gd name="T36" fmla="*/ 104 w 180"/>
                  <a:gd name="T37" fmla="*/ 50 h 50"/>
                  <a:gd name="T38" fmla="*/ 17 w 180"/>
                  <a:gd name="T39" fmla="*/ 26 h 50"/>
                  <a:gd name="T40" fmla="*/ 35 w 180"/>
                  <a:gd name="T41" fmla="*/ 36 h 50"/>
                  <a:gd name="T42" fmla="*/ 104 w 180"/>
                  <a:gd name="T43" fmla="*/ 46 h 50"/>
                  <a:gd name="T44" fmla="*/ 170 w 180"/>
                  <a:gd name="T45" fmla="*/ 36 h 50"/>
                  <a:gd name="T46" fmla="*/ 176 w 180"/>
                  <a:gd name="T47" fmla="*/ 34 h 50"/>
                  <a:gd name="T48" fmla="*/ 176 w 180"/>
                  <a:gd name="T49" fmla="*/ 34 h 50"/>
                  <a:gd name="T50" fmla="*/ 172 w 180"/>
                  <a:gd name="T51" fmla="*/ 35 h 50"/>
                  <a:gd name="T52" fmla="*/ 104 w 180"/>
                  <a:gd name="T53" fmla="*/ 45 h 50"/>
                  <a:gd name="T54" fmla="*/ 34 w 180"/>
                  <a:gd name="T55" fmla="*/ 34 h 50"/>
                  <a:gd name="T56" fmla="*/ 17 w 180"/>
                  <a:gd name="T57" fmla="*/ 2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80" h="50">
                    <a:moveTo>
                      <a:pt x="104" y="50"/>
                    </a:moveTo>
                    <a:cubicBezTo>
                      <a:pt x="78" y="50"/>
                      <a:pt x="53" y="46"/>
                      <a:pt x="34" y="39"/>
                    </a:cubicBezTo>
                    <a:cubicBezTo>
                      <a:pt x="12" y="31"/>
                      <a:pt x="0" y="19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5" y="17"/>
                      <a:pt x="22" y="26"/>
                      <a:pt x="35" y="31"/>
                    </a:cubicBezTo>
                    <a:cubicBezTo>
                      <a:pt x="54" y="37"/>
                      <a:pt x="78" y="41"/>
                      <a:pt x="104" y="41"/>
                    </a:cubicBezTo>
                    <a:cubicBezTo>
                      <a:pt x="129" y="41"/>
                      <a:pt x="152" y="38"/>
                      <a:pt x="170" y="32"/>
                    </a:cubicBezTo>
                    <a:cubicBezTo>
                      <a:pt x="170" y="32"/>
                      <a:pt x="170" y="32"/>
                      <a:pt x="170" y="32"/>
                    </a:cubicBezTo>
                    <a:cubicBezTo>
                      <a:pt x="173" y="31"/>
                      <a:pt x="175" y="30"/>
                      <a:pt x="177" y="29"/>
                    </a:cubicBezTo>
                    <a:cubicBezTo>
                      <a:pt x="178" y="29"/>
                      <a:pt x="179" y="29"/>
                      <a:pt x="179" y="29"/>
                    </a:cubicBezTo>
                    <a:cubicBezTo>
                      <a:pt x="180" y="29"/>
                      <a:pt x="180" y="30"/>
                      <a:pt x="180" y="31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80" y="36"/>
                      <a:pt x="180" y="37"/>
                      <a:pt x="179" y="37"/>
                    </a:cubicBezTo>
                    <a:cubicBezTo>
                      <a:pt x="176" y="38"/>
                      <a:pt x="174" y="39"/>
                      <a:pt x="172" y="40"/>
                    </a:cubicBezTo>
                    <a:cubicBezTo>
                      <a:pt x="153" y="47"/>
                      <a:pt x="129" y="50"/>
                      <a:pt x="104" y="50"/>
                    </a:cubicBezTo>
                    <a:close/>
                    <a:moveTo>
                      <a:pt x="17" y="26"/>
                    </a:moveTo>
                    <a:cubicBezTo>
                      <a:pt x="22" y="30"/>
                      <a:pt x="28" y="33"/>
                      <a:pt x="35" y="36"/>
                    </a:cubicBezTo>
                    <a:cubicBezTo>
                      <a:pt x="54" y="42"/>
                      <a:pt x="78" y="46"/>
                      <a:pt x="104" y="46"/>
                    </a:cubicBezTo>
                    <a:cubicBezTo>
                      <a:pt x="129" y="46"/>
                      <a:pt x="152" y="43"/>
                      <a:pt x="170" y="36"/>
                    </a:cubicBezTo>
                    <a:cubicBezTo>
                      <a:pt x="172" y="36"/>
                      <a:pt x="174" y="35"/>
                      <a:pt x="176" y="34"/>
                    </a:cubicBezTo>
                    <a:cubicBezTo>
                      <a:pt x="176" y="34"/>
                      <a:pt x="176" y="34"/>
                      <a:pt x="176" y="34"/>
                    </a:cubicBezTo>
                    <a:cubicBezTo>
                      <a:pt x="175" y="34"/>
                      <a:pt x="173" y="35"/>
                      <a:pt x="172" y="35"/>
                    </a:cubicBezTo>
                    <a:cubicBezTo>
                      <a:pt x="153" y="42"/>
                      <a:pt x="129" y="45"/>
                      <a:pt x="104" y="45"/>
                    </a:cubicBezTo>
                    <a:cubicBezTo>
                      <a:pt x="78" y="45"/>
                      <a:pt x="53" y="41"/>
                      <a:pt x="34" y="34"/>
                    </a:cubicBezTo>
                    <a:cubicBezTo>
                      <a:pt x="27" y="32"/>
                      <a:pt x="22" y="29"/>
                      <a:pt x="17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52"/>
              <p:cNvSpPr>
                <a:spLocks noEditPoints="1"/>
              </p:cNvSpPr>
              <p:nvPr/>
            </p:nvSpPr>
            <p:spPr bwMode="gray">
              <a:xfrm>
                <a:off x="3469" y="2351"/>
                <a:ext cx="428" cy="193"/>
              </a:xfrm>
              <a:custGeom>
                <a:avLst/>
                <a:gdLst>
                  <a:gd name="T0" fmla="*/ 104 w 180"/>
                  <a:gd name="T1" fmla="*/ 81 h 81"/>
                  <a:gd name="T2" fmla="*/ 34 w 180"/>
                  <a:gd name="T3" fmla="*/ 70 h 81"/>
                  <a:gd name="T4" fmla="*/ 0 w 180"/>
                  <a:gd name="T5" fmla="*/ 38 h 81"/>
                  <a:gd name="T6" fmla="*/ 0 w 180"/>
                  <a:gd name="T7" fmla="*/ 36 h 81"/>
                  <a:gd name="T8" fmla="*/ 0 w 180"/>
                  <a:gd name="T9" fmla="*/ 36 h 81"/>
                  <a:gd name="T10" fmla="*/ 0 w 180"/>
                  <a:gd name="T11" fmla="*/ 35 h 81"/>
                  <a:gd name="T12" fmla="*/ 13 w 180"/>
                  <a:gd name="T13" fmla="*/ 12 h 81"/>
                  <a:gd name="T14" fmla="*/ 29 w 180"/>
                  <a:gd name="T15" fmla="*/ 3 h 81"/>
                  <a:gd name="T16" fmla="*/ 34 w 180"/>
                  <a:gd name="T17" fmla="*/ 0 h 81"/>
                  <a:gd name="T18" fmla="*/ 36 w 180"/>
                  <a:gd name="T19" fmla="*/ 0 h 81"/>
                  <a:gd name="T20" fmla="*/ 42 w 180"/>
                  <a:gd name="T21" fmla="*/ 3 h 81"/>
                  <a:gd name="T22" fmla="*/ 43 w 180"/>
                  <a:gd name="T23" fmla="*/ 5 h 81"/>
                  <a:gd name="T24" fmla="*/ 42 w 180"/>
                  <a:gd name="T25" fmla="*/ 7 h 81"/>
                  <a:gd name="T26" fmla="*/ 31 w 180"/>
                  <a:gd name="T27" fmla="*/ 13 h 81"/>
                  <a:gd name="T28" fmla="*/ 21 w 180"/>
                  <a:gd name="T29" fmla="*/ 29 h 81"/>
                  <a:gd name="T30" fmla="*/ 21 w 180"/>
                  <a:gd name="T31" fmla="*/ 29 h 81"/>
                  <a:gd name="T32" fmla="*/ 21 w 180"/>
                  <a:gd name="T33" fmla="*/ 30 h 81"/>
                  <a:gd name="T34" fmla="*/ 22 w 180"/>
                  <a:gd name="T35" fmla="*/ 31 h 81"/>
                  <a:gd name="T36" fmla="*/ 22 w 180"/>
                  <a:gd name="T37" fmla="*/ 32 h 81"/>
                  <a:gd name="T38" fmla="*/ 21 w 180"/>
                  <a:gd name="T39" fmla="*/ 34 h 81"/>
                  <a:gd name="T40" fmla="*/ 21 w 180"/>
                  <a:gd name="T41" fmla="*/ 34 h 81"/>
                  <a:gd name="T42" fmla="*/ 21 w 180"/>
                  <a:gd name="T43" fmla="*/ 34 h 81"/>
                  <a:gd name="T44" fmla="*/ 46 w 180"/>
                  <a:gd name="T45" fmla="*/ 58 h 81"/>
                  <a:gd name="T46" fmla="*/ 101 w 180"/>
                  <a:gd name="T47" fmla="*/ 67 h 81"/>
                  <a:gd name="T48" fmla="*/ 154 w 180"/>
                  <a:gd name="T49" fmla="*/ 59 h 81"/>
                  <a:gd name="T50" fmla="*/ 159 w 180"/>
                  <a:gd name="T51" fmla="*/ 57 h 81"/>
                  <a:gd name="T52" fmla="*/ 160 w 180"/>
                  <a:gd name="T53" fmla="*/ 57 h 81"/>
                  <a:gd name="T54" fmla="*/ 161 w 180"/>
                  <a:gd name="T55" fmla="*/ 57 h 81"/>
                  <a:gd name="T56" fmla="*/ 179 w 180"/>
                  <a:gd name="T57" fmla="*/ 65 h 81"/>
                  <a:gd name="T58" fmla="*/ 180 w 180"/>
                  <a:gd name="T59" fmla="*/ 67 h 81"/>
                  <a:gd name="T60" fmla="*/ 179 w 180"/>
                  <a:gd name="T61" fmla="*/ 69 h 81"/>
                  <a:gd name="T62" fmla="*/ 172 w 180"/>
                  <a:gd name="T63" fmla="*/ 71 h 81"/>
                  <a:gd name="T64" fmla="*/ 104 w 180"/>
                  <a:gd name="T65" fmla="*/ 81 h 81"/>
                  <a:gd name="T66" fmla="*/ 4 w 180"/>
                  <a:gd name="T67" fmla="*/ 35 h 81"/>
                  <a:gd name="T68" fmla="*/ 4 w 180"/>
                  <a:gd name="T69" fmla="*/ 36 h 81"/>
                  <a:gd name="T70" fmla="*/ 4 w 180"/>
                  <a:gd name="T71" fmla="*/ 38 h 81"/>
                  <a:gd name="T72" fmla="*/ 35 w 180"/>
                  <a:gd name="T73" fmla="*/ 67 h 81"/>
                  <a:gd name="T74" fmla="*/ 35 w 180"/>
                  <a:gd name="T75" fmla="*/ 67 h 81"/>
                  <a:gd name="T76" fmla="*/ 104 w 180"/>
                  <a:gd name="T77" fmla="*/ 77 h 81"/>
                  <a:gd name="T78" fmla="*/ 170 w 180"/>
                  <a:gd name="T79" fmla="*/ 68 h 81"/>
                  <a:gd name="T80" fmla="*/ 173 w 180"/>
                  <a:gd name="T81" fmla="*/ 67 h 81"/>
                  <a:gd name="T82" fmla="*/ 160 w 180"/>
                  <a:gd name="T83" fmla="*/ 61 h 81"/>
                  <a:gd name="T84" fmla="*/ 155 w 180"/>
                  <a:gd name="T85" fmla="*/ 63 h 81"/>
                  <a:gd name="T86" fmla="*/ 102 w 180"/>
                  <a:gd name="T87" fmla="*/ 71 h 81"/>
                  <a:gd name="T88" fmla="*/ 45 w 180"/>
                  <a:gd name="T89" fmla="*/ 62 h 81"/>
                  <a:gd name="T90" fmla="*/ 17 w 180"/>
                  <a:gd name="T91" fmla="*/ 34 h 81"/>
                  <a:gd name="T92" fmla="*/ 17 w 180"/>
                  <a:gd name="T93" fmla="*/ 34 h 81"/>
                  <a:gd name="T94" fmla="*/ 17 w 180"/>
                  <a:gd name="T95" fmla="*/ 34 h 81"/>
                  <a:gd name="T96" fmla="*/ 18 w 180"/>
                  <a:gd name="T97" fmla="*/ 32 h 81"/>
                  <a:gd name="T98" fmla="*/ 17 w 180"/>
                  <a:gd name="T99" fmla="*/ 30 h 81"/>
                  <a:gd name="T100" fmla="*/ 17 w 180"/>
                  <a:gd name="T101" fmla="*/ 30 h 81"/>
                  <a:gd name="T102" fmla="*/ 17 w 180"/>
                  <a:gd name="T103" fmla="*/ 29 h 81"/>
                  <a:gd name="T104" fmla="*/ 28 w 180"/>
                  <a:gd name="T105" fmla="*/ 10 h 81"/>
                  <a:gd name="T106" fmla="*/ 36 w 180"/>
                  <a:gd name="T107" fmla="*/ 5 h 81"/>
                  <a:gd name="T108" fmla="*/ 35 w 180"/>
                  <a:gd name="T109" fmla="*/ 4 h 81"/>
                  <a:gd name="T110" fmla="*/ 30 w 180"/>
                  <a:gd name="T111" fmla="*/ 6 h 81"/>
                  <a:gd name="T112" fmla="*/ 16 w 180"/>
                  <a:gd name="T113" fmla="*/ 15 h 81"/>
                  <a:gd name="T114" fmla="*/ 4 w 180"/>
                  <a:gd name="T115" fmla="*/ 35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0" h="81">
                    <a:moveTo>
                      <a:pt x="104" y="81"/>
                    </a:moveTo>
                    <a:cubicBezTo>
                      <a:pt x="78" y="81"/>
                      <a:pt x="53" y="77"/>
                      <a:pt x="34" y="70"/>
                    </a:cubicBezTo>
                    <a:cubicBezTo>
                      <a:pt x="13" y="63"/>
                      <a:pt x="1" y="51"/>
                      <a:pt x="0" y="38"/>
                    </a:cubicBezTo>
                    <a:cubicBezTo>
                      <a:pt x="0" y="37"/>
                      <a:pt x="0" y="37"/>
                      <a:pt x="0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6"/>
                      <a:pt x="0" y="35"/>
                    </a:cubicBezTo>
                    <a:cubicBezTo>
                      <a:pt x="0" y="31"/>
                      <a:pt x="2" y="21"/>
                      <a:pt x="13" y="12"/>
                    </a:cubicBezTo>
                    <a:cubicBezTo>
                      <a:pt x="17" y="8"/>
                      <a:pt x="23" y="5"/>
                      <a:pt x="29" y="3"/>
                    </a:cubicBezTo>
                    <a:cubicBezTo>
                      <a:pt x="30" y="2"/>
                      <a:pt x="32" y="1"/>
                      <a:pt x="34" y="0"/>
                    </a:cubicBezTo>
                    <a:cubicBezTo>
                      <a:pt x="35" y="0"/>
                      <a:pt x="35" y="0"/>
                      <a:pt x="36" y="0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43" y="3"/>
                      <a:pt x="43" y="4"/>
                      <a:pt x="43" y="5"/>
                    </a:cubicBezTo>
                    <a:cubicBezTo>
                      <a:pt x="43" y="6"/>
                      <a:pt x="43" y="6"/>
                      <a:pt x="42" y="7"/>
                    </a:cubicBezTo>
                    <a:cubicBezTo>
                      <a:pt x="37" y="9"/>
                      <a:pt x="34" y="11"/>
                      <a:pt x="31" y="13"/>
                    </a:cubicBezTo>
                    <a:cubicBezTo>
                      <a:pt x="23" y="20"/>
                      <a:pt x="21" y="26"/>
                      <a:pt x="21" y="2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9"/>
                      <a:pt x="21" y="30"/>
                      <a:pt x="21" y="30"/>
                    </a:cubicBezTo>
                    <a:cubicBezTo>
                      <a:pt x="21" y="30"/>
                      <a:pt x="22" y="31"/>
                      <a:pt x="22" y="31"/>
                    </a:cubicBezTo>
                    <a:cubicBezTo>
                      <a:pt x="22" y="31"/>
                      <a:pt x="22" y="32"/>
                      <a:pt x="22" y="32"/>
                    </a:cubicBezTo>
                    <a:cubicBezTo>
                      <a:pt x="22" y="33"/>
                      <a:pt x="21" y="33"/>
                      <a:pt x="21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22" y="47"/>
                      <a:pt x="37" y="55"/>
                      <a:pt x="46" y="58"/>
                    </a:cubicBezTo>
                    <a:cubicBezTo>
                      <a:pt x="61" y="64"/>
                      <a:pt x="81" y="67"/>
                      <a:pt x="101" y="67"/>
                    </a:cubicBezTo>
                    <a:cubicBezTo>
                      <a:pt x="121" y="67"/>
                      <a:pt x="140" y="64"/>
                      <a:pt x="154" y="59"/>
                    </a:cubicBezTo>
                    <a:cubicBezTo>
                      <a:pt x="156" y="58"/>
                      <a:pt x="158" y="58"/>
                      <a:pt x="159" y="57"/>
                    </a:cubicBezTo>
                    <a:cubicBezTo>
                      <a:pt x="159" y="57"/>
                      <a:pt x="159" y="57"/>
                      <a:pt x="160" y="57"/>
                    </a:cubicBezTo>
                    <a:cubicBezTo>
                      <a:pt x="160" y="57"/>
                      <a:pt x="161" y="57"/>
                      <a:pt x="161" y="57"/>
                    </a:cubicBezTo>
                    <a:cubicBezTo>
                      <a:pt x="179" y="65"/>
                      <a:pt x="179" y="65"/>
                      <a:pt x="179" y="65"/>
                    </a:cubicBezTo>
                    <a:cubicBezTo>
                      <a:pt x="180" y="65"/>
                      <a:pt x="180" y="66"/>
                      <a:pt x="180" y="67"/>
                    </a:cubicBezTo>
                    <a:cubicBezTo>
                      <a:pt x="180" y="67"/>
                      <a:pt x="180" y="68"/>
                      <a:pt x="179" y="69"/>
                    </a:cubicBezTo>
                    <a:cubicBezTo>
                      <a:pt x="176" y="70"/>
                      <a:pt x="174" y="70"/>
                      <a:pt x="172" y="71"/>
                    </a:cubicBezTo>
                    <a:cubicBezTo>
                      <a:pt x="153" y="78"/>
                      <a:pt x="129" y="81"/>
                      <a:pt x="104" y="81"/>
                    </a:cubicBezTo>
                    <a:close/>
                    <a:moveTo>
                      <a:pt x="4" y="35"/>
                    </a:moveTo>
                    <a:cubicBezTo>
                      <a:pt x="4" y="35"/>
                      <a:pt x="4" y="36"/>
                      <a:pt x="4" y="36"/>
                    </a:cubicBezTo>
                    <a:cubicBezTo>
                      <a:pt x="4" y="36"/>
                      <a:pt x="4" y="37"/>
                      <a:pt x="4" y="38"/>
                    </a:cubicBezTo>
                    <a:cubicBezTo>
                      <a:pt x="5" y="53"/>
                      <a:pt x="22" y="62"/>
                      <a:pt x="35" y="67"/>
                    </a:cubicBezTo>
                    <a:cubicBezTo>
                      <a:pt x="35" y="67"/>
                      <a:pt x="35" y="67"/>
                      <a:pt x="35" y="67"/>
                    </a:cubicBezTo>
                    <a:cubicBezTo>
                      <a:pt x="54" y="73"/>
                      <a:pt x="78" y="77"/>
                      <a:pt x="104" y="77"/>
                    </a:cubicBezTo>
                    <a:cubicBezTo>
                      <a:pt x="129" y="77"/>
                      <a:pt x="152" y="74"/>
                      <a:pt x="170" y="68"/>
                    </a:cubicBezTo>
                    <a:cubicBezTo>
                      <a:pt x="171" y="67"/>
                      <a:pt x="172" y="67"/>
                      <a:pt x="173" y="67"/>
                    </a:cubicBezTo>
                    <a:cubicBezTo>
                      <a:pt x="160" y="61"/>
                      <a:pt x="160" y="61"/>
                      <a:pt x="160" y="61"/>
                    </a:cubicBezTo>
                    <a:cubicBezTo>
                      <a:pt x="159" y="62"/>
                      <a:pt x="157" y="62"/>
                      <a:pt x="155" y="63"/>
                    </a:cubicBezTo>
                    <a:cubicBezTo>
                      <a:pt x="141" y="68"/>
                      <a:pt x="122" y="71"/>
                      <a:pt x="102" y="71"/>
                    </a:cubicBezTo>
                    <a:cubicBezTo>
                      <a:pt x="80" y="71"/>
                      <a:pt x="60" y="68"/>
                      <a:pt x="45" y="62"/>
                    </a:cubicBezTo>
                    <a:cubicBezTo>
                      <a:pt x="27" y="55"/>
                      <a:pt x="18" y="46"/>
                      <a:pt x="17" y="34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17" y="33"/>
                      <a:pt x="18" y="32"/>
                      <a:pt x="18" y="32"/>
                    </a:cubicBezTo>
                    <a:cubicBezTo>
                      <a:pt x="18" y="31"/>
                      <a:pt x="17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17" y="30"/>
                      <a:pt x="17" y="29"/>
                      <a:pt x="17" y="29"/>
                    </a:cubicBezTo>
                    <a:cubicBezTo>
                      <a:pt x="17" y="25"/>
                      <a:pt x="19" y="18"/>
                      <a:pt x="28" y="10"/>
                    </a:cubicBezTo>
                    <a:cubicBezTo>
                      <a:pt x="31" y="8"/>
                      <a:pt x="33" y="7"/>
                      <a:pt x="36" y="5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3" y="5"/>
                      <a:pt x="32" y="6"/>
                      <a:pt x="30" y="6"/>
                    </a:cubicBezTo>
                    <a:cubicBezTo>
                      <a:pt x="24" y="9"/>
                      <a:pt x="20" y="12"/>
                      <a:pt x="16" y="15"/>
                    </a:cubicBezTo>
                    <a:cubicBezTo>
                      <a:pt x="5" y="23"/>
                      <a:pt x="4" y="31"/>
                      <a:pt x="4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53"/>
              <p:cNvSpPr>
                <a:spLocks noEditPoints="1"/>
              </p:cNvSpPr>
              <p:nvPr/>
            </p:nvSpPr>
            <p:spPr bwMode="gray">
              <a:xfrm>
                <a:off x="3509" y="2423"/>
                <a:ext cx="345" cy="97"/>
              </a:xfrm>
              <a:custGeom>
                <a:avLst/>
                <a:gdLst>
                  <a:gd name="T0" fmla="*/ 85 w 145"/>
                  <a:gd name="T1" fmla="*/ 41 h 41"/>
                  <a:gd name="T2" fmla="*/ 28 w 145"/>
                  <a:gd name="T3" fmla="*/ 32 h 41"/>
                  <a:gd name="T4" fmla="*/ 0 w 145"/>
                  <a:gd name="T5" fmla="*/ 4 h 41"/>
                  <a:gd name="T6" fmla="*/ 0 w 145"/>
                  <a:gd name="T7" fmla="*/ 4 h 41"/>
                  <a:gd name="T8" fmla="*/ 0 w 145"/>
                  <a:gd name="T9" fmla="*/ 4 h 41"/>
                  <a:gd name="T10" fmla="*/ 1 w 145"/>
                  <a:gd name="T11" fmla="*/ 1 h 41"/>
                  <a:gd name="T12" fmla="*/ 3 w 145"/>
                  <a:gd name="T13" fmla="*/ 0 h 41"/>
                  <a:gd name="T14" fmla="*/ 3 w 145"/>
                  <a:gd name="T15" fmla="*/ 0 h 41"/>
                  <a:gd name="T16" fmla="*/ 5 w 145"/>
                  <a:gd name="T17" fmla="*/ 1 h 41"/>
                  <a:gd name="T18" fmla="*/ 29 w 145"/>
                  <a:gd name="T19" fmla="*/ 24 h 41"/>
                  <a:gd name="T20" fmla="*/ 84 w 145"/>
                  <a:gd name="T21" fmla="*/ 32 h 41"/>
                  <a:gd name="T22" fmla="*/ 137 w 145"/>
                  <a:gd name="T23" fmla="*/ 25 h 41"/>
                  <a:gd name="T24" fmla="*/ 143 w 145"/>
                  <a:gd name="T25" fmla="*/ 23 h 41"/>
                  <a:gd name="T26" fmla="*/ 144 w 145"/>
                  <a:gd name="T27" fmla="*/ 23 h 41"/>
                  <a:gd name="T28" fmla="*/ 145 w 145"/>
                  <a:gd name="T29" fmla="*/ 24 h 41"/>
                  <a:gd name="T30" fmla="*/ 145 w 145"/>
                  <a:gd name="T31" fmla="*/ 29 h 41"/>
                  <a:gd name="T32" fmla="*/ 144 w 145"/>
                  <a:gd name="T33" fmla="*/ 31 h 41"/>
                  <a:gd name="T34" fmla="*/ 138 w 145"/>
                  <a:gd name="T35" fmla="*/ 33 h 41"/>
                  <a:gd name="T36" fmla="*/ 85 w 145"/>
                  <a:gd name="T37" fmla="*/ 41 h 41"/>
                  <a:gd name="T38" fmla="*/ 24 w 145"/>
                  <a:gd name="T39" fmla="*/ 26 h 41"/>
                  <a:gd name="T40" fmla="*/ 29 w 145"/>
                  <a:gd name="T41" fmla="*/ 28 h 41"/>
                  <a:gd name="T42" fmla="*/ 84 w 145"/>
                  <a:gd name="T43" fmla="*/ 37 h 41"/>
                  <a:gd name="T44" fmla="*/ 137 w 145"/>
                  <a:gd name="T45" fmla="*/ 29 h 41"/>
                  <a:gd name="T46" fmla="*/ 141 w 145"/>
                  <a:gd name="T47" fmla="*/ 27 h 41"/>
                  <a:gd name="T48" fmla="*/ 141 w 145"/>
                  <a:gd name="T49" fmla="*/ 27 h 41"/>
                  <a:gd name="T50" fmla="*/ 138 w 145"/>
                  <a:gd name="T51" fmla="*/ 28 h 41"/>
                  <a:gd name="T52" fmla="*/ 85 w 145"/>
                  <a:gd name="T53" fmla="*/ 36 h 41"/>
                  <a:gd name="T54" fmla="*/ 28 w 145"/>
                  <a:gd name="T55" fmla="*/ 28 h 41"/>
                  <a:gd name="T56" fmla="*/ 24 w 145"/>
                  <a:gd name="T57" fmla="*/ 2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5" h="41">
                    <a:moveTo>
                      <a:pt x="85" y="41"/>
                    </a:moveTo>
                    <a:cubicBezTo>
                      <a:pt x="63" y="41"/>
                      <a:pt x="43" y="38"/>
                      <a:pt x="28" y="32"/>
                    </a:cubicBezTo>
                    <a:cubicBezTo>
                      <a:pt x="10" y="25"/>
                      <a:pt x="1" y="16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3"/>
                      <a:pt x="1" y="2"/>
                      <a:pt x="1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6" y="13"/>
                      <a:pt x="19" y="20"/>
                      <a:pt x="29" y="24"/>
                    </a:cubicBezTo>
                    <a:cubicBezTo>
                      <a:pt x="44" y="29"/>
                      <a:pt x="64" y="32"/>
                      <a:pt x="84" y="32"/>
                    </a:cubicBezTo>
                    <a:cubicBezTo>
                      <a:pt x="104" y="32"/>
                      <a:pt x="123" y="30"/>
                      <a:pt x="137" y="25"/>
                    </a:cubicBezTo>
                    <a:cubicBezTo>
                      <a:pt x="139" y="24"/>
                      <a:pt x="141" y="23"/>
                      <a:pt x="143" y="23"/>
                    </a:cubicBezTo>
                    <a:cubicBezTo>
                      <a:pt x="143" y="22"/>
                      <a:pt x="144" y="22"/>
                      <a:pt x="144" y="23"/>
                    </a:cubicBezTo>
                    <a:cubicBezTo>
                      <a:pt x="145" y="23"/>
                      <a:pt x="145" y="24"/>
                      <a:pt x="145" y="24"/>
                    </a:cubicBezTo>
                    <a:cubicBezTo>
                      <a:pt x="145" y="29"/>
                      <a:pt x="145" y="29"/>
                      <a:pt x="145" y="29"/>
                    </a:cubicBezTo>
                    <a:cubicBezTo>
                      <a:pt x="145" y="30"/>
                      <a:pt x="145" y="30"/>
                      <a:pt x="144" y="31"/>
                    </a:cubicBezTo>
                    <a:cubicBezTo>
                      <a:pt x="142" y="31"/>
                      <a:pt x="140" y="32"/>
                      <a:pt x="138" y="33"/>
                    </a:cubicBezTo>
                    <a:cubicBezTo>
                      <a:pt x="124" y="38"/>
                      <a:pt x="105" y="41"/>
                      <a:pt x="85" y="41"/>
                    </a:cubicBezTo>
                    <a:close/>
                    <a:moveTo>
                      <a:pt x="24" y="26"/>
                    </a:moveTo>
                    <a:cubicBezTo>
                      <a:pt x="26" y="27"/>
                      <a:pt x="28" y="28"/>
                      <a:pt x="29" y="28"/>
                    </a:cubicBezTo>
                    <a:cubicBezTo>
                      <a:pt x="44" y="34"/>
                      <a:pt x="64" y="37"/>
                      <a:pt x="84" y="37"/>
                    </a:cubicBezTo>
                    <a:cubicBezTo>
                      <a:pt x="104" y="37"/>
                      <a:pt x="123" y="34"/>
                      <a:pt x="137" y="29"/>
                    </a:cubicBezTo>
                    <a:cubicBezTo>
                      <a:pt x="139" y="29"/>
                      <a:pt x="140" y="28"/>
                      <a:pt x="141" y="27"/>
                    </a:cubicBezTo>
                    <a:cubicBezTo>
                      <a:pt x="141" y="27"/>
                      <a:pt x="141" y="27"/>
                      <a:pt x="141" y="27"/>
                    </a:cubicBezTo>
                    <a:cubicBezTo>
                      <a:pt x="140" y="28"/>
                      <a:pt x="139" y="28"/>
                      <a:pt x="138" y="28"/>
                    </a:cubicBezTo>
                    <a:cubicBezTo>
                      <a:pt x="124" y="34"/>
                      <a:pt x="105" y="36"/>
                      <a:pt x="85" y="36"/>
                    </a:cubicBezTo>
                    <a:cubicBezTo>
                      <a:pt x="63" y="36"/>
                      <a:pt x="43" y="33"/>
                      <a:pt x="28" y="28"/>
                    </a:cubicBezTo>
                    <a:cubicBezTo>
                      <a:pt x="27" y="27"/>
                      <a:pt x="26" y="27"/>
                      <a:pt x="24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54"/>
              <p:cNvSpPr>
                <a:spLocks noEditPoints="1"/>
              </p:cNvSpPr>
              <p:nvPr/>
            </p:nvSpPr>
            <p:spPr bwMode="gray">
              <a:xfrm>
                <a:off x="3509" y="2354"/>
                <a:ext cx="345" cy="154"/>
              </a:xfrm>
              <a:custGeom>
                <a:avLst/>
                <a:gdLst>
                  <a:gd name="T0" fmla="*/ 85 w 145"/>
                  <a:gd name="T1" fmla="*/ 65 h 65"/>
                  <a:gd name="T2" fmla="*/ 28 w 145"/>
                  <a:gd name="T3" fmla="*/ 57 h 65"/>
                  <a:gd name="T4" fmla="*/ 1 w 145"/>
                  <a:gd name="T5" fmla="*/ 31 h 65"/>
                  <a:gd name="T6" fmla="*/ 0 w 145"/>
                  <a:gd name="T7" fmla="*/ 29 h 65"/>
                  <a:gd name="T8" fmla="*/ 0 w 145"/>
                  <a:gd name="T9" fmla="*/ 29 h 65"/>
                  <a:gd name="T10" fmla="*/ 0 w 145"/>
                  <a:gd name="T11" fmla="*/ 28 h 65"/>
                  <a:gd name="T12" fmla="*/ 11 w 145"/>
                  <a:gd name="T13" fmla="*/ 9 h 65"/>
                  <a:gd name="T14" fmla="*/ 23 w 145"/>
                  <a:gd name="T15" fmla="*/ 2 h 65"/>
                  <a:gd name="T16" fmla="*/ 28 w 145"/>
                  <a:gd name="T17" fmla="*/ 0 h 65"/>
                  <a:gd name="T18" fmla="*/ 30 w 145"/>
                  <a:gd name="T19" fmla="*/ 0 h 65"/>
                  <a:gd name="T20" fmla="*/ 32 w 145"/>
                  <a:gd name="T21" fmla="*/ 1 h 65"/>
                  <a:gd name="T22" fmla="*/ 34 w 145"/>
                  <a:gd name="T23" fmla="*/ 3 h 65"/>
                  <a:gd name="T24" fmla="*/ 33 w 145"/>
                  <a:gd name="T25" fmla="*/ 5 h 65"/>
                  <a:gd name="T26" fmla="*/ 26 w 145"/>
                  <a:gd name="T27" fmla="*/ 9 h 65"/>
                  <a:gd name="T28" fmla="*/ 19 w 145"/>
                  <a:gd name="T29" fmla="*/ 22 h 65"/>
                  <a:gd name="T30" fmla="*/ 19 w 145"/>
                  <a:gd name="T31" fmla="*/ 24 h 65"/>
                  <a:gd name="T32" fmla="*/ 19 w 145"/>
                  <a:gd name="T33" fmla="*/ 24 h 65"/>
                  <a:gd name="T34" fmla="*/ 19 w 145"/>
                  <a:gd name="T35" fmla="*/ 26 h 65"/>
                  <a:gd name="T36" fmla="*/ 38 w 145"/>
                  <a:gd name="T37" fmla="*/ 46 h 65"/>
                  <a:gd name="T38" fmla="*/ 82 w 145"/>
                  <a:gd name="T39" fmla="*/ 52 h 65"/>
                  <a:gd name="T40" fmla="*/ 124 w 145"/>
                  <a:gd name="T41" fmla="*/ 46 h 65"/>
                  <a:gd name="T42" fmla="*/ 128 w 145"/>
                  <a:gd name="T43" fmla="*/ 45 h 65"/>
                  <a:gd name="T44" fmla="*/ 129 w 145"/>
                  <a:gd name="T45" fmla="*/ 45 h 65"/>
                  <a:gd name="T46" fmla="*/ 144 w 145"/>
                  <a:gd name="T47" fmla="*/ 52 h 65"/>
                  <a:gd name="T48" fmla="*/ 145 w 145"/>
                  <a:gd name="T49" fmla="*/ 53 h 65"/>
                  <a:gd name="T50" fmla="*/ 144 w 145"/>
                  <a:gd name="T51" fmla="*/ 55 h 65"/>
                  <a:gd name="T52" fmla="*/ 138 w 145"/>
                  <a:gd name="T53" fmla="*/ 57 h 65"/>
                  <a:gd name="T54" fmla="*/ 85 w 145"/>
                  <a:gd name="T55" fmla="*/ 65 h 65"/>
                  <a:gd name="T56" fmla="*/ 4 w 145"/>
                  <a:gd name="T57" fmla="*/ 28 h 65"/>
                  <a:gd name="T58" fmla="*/ 4 w 145"/>
                  <a:gd name="T59" fmla="*/ 29 h 65"/>
                  <a:gd name="T60" fmla="*/ 5 w 145"/>
                  <a:gd name="T61" fmla="*/ 30 h 65"/>
                  <a:gd name="T62" fmla="*/ 29 w 145"/>
                  <a:gd name="T63" fmla="*/ 53 h 65"/>
                  <a:gd name="T64" fmla="*/ 29 w 145"/>
                  <a:gd name="T65" fmla="*/ 53 h 65"/>
                  <a:gd name="T66" fmla="*/ 84 w 145"/>
                  <a:gd name="T67" fmla="*/ 61 h 65"/>
                  <a:gd name="T68" fmla="*/ 137 w 145"/>
                  <a:gd name="T69" fmla="*/ 54 h 65"/>
                  <a:gd name="T70" fmla="*/ 138 w 145"/>
                  <a:gd name="T71" fmla="*/ 53 h 65"/>
                  <a:gd name="T72" fmla="*/ 129 w 145"/>
                  <a:gd name="T73" fmla="*/ 49 h 65"/>
                  <a:gd name="T74" fmla="*/ 125 w 145"/>
                  <a:gd name="T75" fmla="*/ 50 h 65"/>
                  <a:gd name="T76" fmla="*/ 82 w 145"/>
                  <a:gd name="T77" fmla="*/ 56 h 65"/>
                  <a:gd name="T78" fmla="*/ 37 w 145"/>
                  <a:gd name="T79" fmla="*/ 49 h 65"/>
                  <a:gd name="T80" fmla="*/ 15 w 145"/>
                  <a:gd name="T81" fmla="*/ 27 h 65"/>
                  <a:gd name="T82" fmla="*/ 15 w 145"/>
                  <a:gd name="T83" fmla="*/ 26 h 65"/>
                  <a:gd name="T84" fmla="*/ 15 w 145"/>
                  <a:gd name="T85" fmla="*/ 24 h 65"/>
                  <a:gd name="T86" fmla="*/ 15 w 145"/>
                  <a:gd name="T87" fmla="*/ 22 h 65"/>
                  <a:gd name="T88" fmla="*/ 15 w 145"/>
                  <a:gd name="T89" fmla="*/ 21 h 65"/>
                  <a:gd name="T90" fmla="*/ 21 w 145"/>
                  <a:gd name="T91" fmla="*/ 7 h 65"/>
                  <a:gd name="T92" fmla="*/ 14 w 145"/>
                  <a:gd name="T93" fmla="*/ 12 h 65"/>
                  <a:gd name="T94" fmla="*/ 4 w 145"/>
                  <a:gd name="T95" fmla="*/ 28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5" h="65">
                    <a:moveTo>
                      <a:pt x="85" y="65"/>
                    </a:moveTo>
                    <a:cubicBezTo>
                      <a:pt x="63" y="65"/>
                      <a:pt x="43" y="62"/>
                      <a:pt x="28" y="57"/>
                    </a:cubicBezTo>
                    <a:cubicBezTo>
                      <a:pt x="11" y="51"/>
                      <a:pt x="2" y="42"/>
                      <a:pt x="1" y="31"/>
                    </a:cubicBezTo>
                    <a:cubicBezTo>
                      <a:pt x="1" y="30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8"/>
                      <a:pt x="0" y="28"/>
                    </a:cubicBezTo>
                    <a:cubicBezTo>
                      <a:pt x="0" y="24"/>
                      <a:pt x="2" y="17"/>
                      <a:pt x="11" y="9"/>
                    </a:cubicBezTo>
                    <a:cubicBezTo>
                      <a:pt x="15" y="7"/>
                      <a:pt x="19" y="4"/>
                      <a:pt x="23" y="2"/>
                    </a:cubicBezTo>
                    <a:cubicBezTo>
                      <a:pt x="25" y="1"/>
                      <a:pt x="26" y="1"/>
                      <a:pt x="28" y="0"/>
                    </a:cubicBezTo>
                    <a:cubicBezTo>
                      <a:pt x="29" y="0"/>
                      <a:pt x="29" y="0"/>
                      <a:pt x="30" y="0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3" y="1"/>
                      <a:pt x="34" y="2"/>
                      <a:pt x="34" y="3"/>
                    </a:cubicBezTo>
                    <a:cubicBezTo>
                      <a:pt x="34" y="4"/>
                      <a:pt x="33" y="4"/>
                      <a:pt x="33" y="5"/>
                    </a:cubicBezTo>
                    <a:cubicBezTo>
                      <a:pt x="30" y="6"/>
                      <a:pt x="28" y="7"/>
                      <a:pt x="26" y="9"/>
                    </a:cubicBezTo>
                    <a:cubicBezTo>
                      <a:pt x="19" y="14"/>
                      <a:pt x="19" y="19"/>
                      <a:pt x="19" y="22"/>
                    </a:cubicBezTo>
                    <a:cubicBezTo>
                      <a:pt x="19" y="22"/>
                      <a:pt x="19" y="23"/>
                      <a:pt x="19" y="24"/>
                    </a:cubicBezTo>
                    <a:cubicBezTo>
                      <a:pt x="19" y="24"/>
                      <a:pt x="19" y="24"/>
                      <a:pt x="19" y="24"/>
                    </a:cubicBezTo>
                    <a:cubicBezTo>
                      <a:pt x="19" y="25"/>
                      <a:pt x="19" y="26"/>
                      <a:pt x="19" y="26"/>
                    </a:cubicBezTo>
                    <a:cubicBezTo>
                      <a:pt x="19" y="37"/>
                      <a:pt x="31" y="43"/>
                      <a:pt x="38" y="46"/>
                    </a:cubicBezTo>
                    <a:cubicBezTo>
                      <a:pt x="50" y="50"/>
                      <a:pt x="65" y="52"/>
                      <a:pt x="82" y="52"/>
                    </a:cubicBezTo>
                    <a:cubicBezTo>
                      <a:pt x="98" y="52"/>
                      <a:pt x="113" y="50"/>
                      <a:pt x="124" y="46"/>
                    </a:cubicBezTo>
                    <a:cubicBezTo>
                      <a:pt x="125" y="46"/>
                      <a:pt x="127" y="45"/>
                      <a:pt x="128" y="45"/>
                    </a:cubicBezTo>
                    <a:cubicBezTo>
                      <a:pt x="128" y="45"/>
                      <a:pt x="129" y="45"/>
                      <a:pt x="129" y="45"/>
                    </a:cubicBezTo>
                    <a:cubicBezTo>
                      <a:pt x="144" y="52"/>
                      <a:pt x="144" y="52"/>
                      <a:pt x="144" y="52"/>
                    </a:cubicBezTo>
                    <a:cubicBezTo>
                      <a:pt x="145" y="52"/>
                      <a:pt x="145" y="53"/>
                      <a:pt x="145" y="53"/>
                    </a:cubicBezTo>
                    <a:cubicBezTo>
                      <a:pt x="145" y="54"/>
                      <a:pt x="145" y="55"/>
                      <a:pt x="144" y="55"/>
                    </a:cubicBezTo>
                    <a:cubicBezTo>
                      <a:pt x="142" y="56"/>
                      <a:pt x="140" y="57"/>
                      <a:pt x="138" y="57"/>
                    </a:cubicBezTo>
                    <a:cubicBezTo>
                      <a:pt x="124" y="63"/>
                      <a:pt x="105" y="65"/>
                      <a:pt x="85" y="65"/>
                    </a:cubicBezTo>
                    <a:close/>
                    <a:moveTo>
                      <a:pt x="4" y="28"/>
                    </a:moveTo>
                    <a:cubicBezTo>
                      <a:pt x="4" y="28"/>
                      <a:pt x="4" y="29"/>
                      <a:pt x="4" y="29"/>
                    </a:cubicBezTo>
                    <a:cubicBezTo>
                      <a:pt x="4" y="29"/>
                      <a:pt x="5" y="30"/>
                      <a:pt x="5" y="30"/>
                    </a:cubicBezTo>
                    <a:cubicBezTo>
                      <a:pt x="6" y="42"/>
                      <a:pt x="19" y="49"/>
                      <a:pt x="29" y="53"/>
                    </a:cubicBezTo>
                    <a:cubicBezTo>
                      <a:pt x="29" y="53"/>
                      <a:pt x="29" y="53"/>
                      <a:pt x="29" y="53"/>
                    </a:cubicBezTo>
                    <a:cubicBezTo>
                      <a:pt x="44" y="58"/>
                      <a:pt x="64" y="61"/>
                      <a:pt x="84" y="61"/>
                    </a:cubicBezTo>
                    <a:cubicBezTo>
                      <a:pt x="104" y="61"/>
                      <a:pt x="123" y="59"/>
                      <a:pt x="137" y="54"/>
                    </a:cubicBezTo>
                    <a:cubicBezTo>
                      <a:pt x="137" y="54"/>
                      <a:pt x="138" y="53"/>
                      <a:pt x="138" y="53"/>
                    </a:cubicBezTo>
                    <a:cubicBezTo>
                      <a:pt x="129" y="49"/>
                      <a:pt x="129" y="49"/>
                      <a:pt x="129" y="49"/>
                    </a:cubicBezTo>
                    <a:cubicBezTo>
                      <a:pt x="128" y="49"/>
                      <a:pt x="127" y="50"/>
                      <a:pt x="125" y="50"/>
                    </a:cubicBezTo>
                    <a:cubicBezTo>
                      <a:pt x="114" y="54"/>
                      <a:pt x="98" y="56"/>
                      <a:pt x="82" y="56"/>
                    </a:cubicBezTo>
                    <a:cubicBezTo>
                      <a:pt x="65" y="56"/>
                      <a:pt x="49" y="54"/>
                      <a:pt x="37" y="49"/>
                    </a:cubicBezTo>
                    <a:cubicBezTo>
                      <a:pt x="22" y="44"/>
                      <a:pt x="15" y="36"/>
                      <a:pt x="15" y="27"/>
                    </a:cubicBezTo>
                    <a:cubicBezTo>
                      <a:pt x="15" y="27"/>
                      <a:pt x="15" y="26"/>
                      <a:pt x="15" y="26"/>
                    </a:cubicBezTo>
                    <a:cubicBezTo>
                      <a:pt x="15" y="26"/>
                      <a:pt x="15" y="25"/>
                      <a:pt x="15" y="24"/>
                    </a:cubicBezTo>
                    <a:cubicBezTo>
                      <a:pt x="15" y="23"/>
                      <a:pt x="15" y="22"/>
                      <a:pt x="15" y="22"/>
                    </a:cubicBezTo>
                    <a:cubicBezTo>
                      <a:pt x="15" y="22"/>
                      <a:pt x="15" y="21"/>
                      <a:pt x="15" y="21"/>
                    </a:cubicBezTo>
                    <a:cubicBezTo>
                      <a:pt x="15" y="19"/>
                      <a:pt x="15" y="13"/>
                      <a:pt x="21" y="7"/>
                    </a:cubicBezTo>
                    <a:cubicBezTo>
                      <a:pt x="19" y="9"/>
                      <a:pt x="16" y="11"/>
                      <a:pt x="14" y="12"/>
                    </a:cubicBezTo>
                    <a:cubicBezTo>
                      <a:pt x="6" y="19"/>
                      <a:pt x="4" y="25"/>
                      <a:pt x="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55"/>
              <p:cNvSpPr>
                <a:spLocks noEditPoints="1"/>
              </p:cNvSpPr>
              <p:nvPr/>
            </p:nvSpPr>
            <p:spPr bwMode="gray">
              <a:xfrm>
                <a:off x="3545" y="2406"/>
                <a:ext cx="276" cy="81"/>
              </a:xfrm>
              <a:custGeom>
                <a:avLst/>
                <a:gdLst>
                  <a:gd name="T0" fmla="*/ 67 w 116"/>
                  <a:gd name="T1" fmla="*/ 34 h 34"/>
                  <a:gd name="T2" fmla="*/ 22 w 116"/>
                  <a:gd name="T3" fmla="*/ 27 h 34"/>
                  <a:gd name="T4" fmla="*/ 0 w 116"/>
                  <a:gd name="T5" fmla="*/ 5 h 34"/>
                  <a:gd name="T6" fmla="*/ 0 w 116"/>
                  <a:gd name="T7" fmla="*/ 4 h 34"/>
                  <a:gd name="T8" fmla="*/ 0 w 116"/>
                  <a:gd name="T9" fmla="*/ 2 h 34"/>
                  <a:gd name="T10" fmla="*/ 2 w 116"/>
                  <a:gd name="T11" fmla="*/ 0 h 34"/>
                  <a:gd name="T12" fmla="*/ 2 w 116"/>
                  <a:gd name="T13" fmla="*/ 0 h 34"/>
                  <a:gd name="T14" fmla="*/ 4 w 116"/>
                  <a:gd name="T15" fmla="*/ 2 h 34"/>
                  <a:gd name="T16" fmla="*/ 23 w 116"/>
                  <a:gd name="T17" fmla="*/ 19 h 34"/>
                  <a:gd name="T18" fmla="*/ 67 w 116"/>
                  <a:gd name="T19" fmla="*/ 26 h 34"/>
                  <a:gd name="T20" fmla="*/ 109 w 116"/>
                  <a:gd name="T21" fmla="*/ 19 h 34"/>
                  <a:gd name="T22" fmla="*/ 109 w 116"/>
                  <a:gd name="T23" fmla="*/ 19 h 34"/>
                  <a:gd name="T24" fmla="*/ 114 w 116"/>
                  <a:gd name="T25" fmla="*/ 18 h 34"/>
                  <a:gd name="T26" fmla="*/ 115 w 116"/>
                  <a:gd name="T27" fmla="*/ 18 h 34"/>
                  <a:gd name="T28" fmla="*/ 116 w 116"/>
                  <a:gd name="T29" fmla="*/ 19 h 34"/>
                  <a:gd name="T30" fmla="*/ 116 w 116"/>
                  <a:gd name="T31" fmla="*/ 24 h 34"/>
                  <a:gd name="T32" fmla="*/ 115 w 116"/>
                  <a:gd name="T33" fmla="*/ 26 h 34"/>
                  <a:gd name="T34" fmla="*/ 115 w 116"/>
                  <a:gd name="T35" fmla="*/ 26 h 34"/>
                  <a:gd name="T36" fmla="*/ 110 w 116"/>
                  <a:gd name="T37" fmla="*/ 28 h 34"/>
                  <a:gd name="T38" fmla="*/ 67 w 116"/>
                  <a:gd name="T39" fmla="*/ 34 h 34"/>
                  <a:gd name="T40" fmla="*/ 11 w 116"/>
                  <a:gd name="T41" fmla="*/ 17 h 34"/>
                  <a:gd name="T42" fmla="*/ 23 w 116"/>
                  <a:gd name="T43" fmla="*/ 24 h 34"/>
                  <a:gd name="T44" fmla="*/ 67 w 116"/>
                  <a:gd name="T45" fmla="*/ 30 h 34"/>
                  <a:gd name="T46" fmla="*/ 109 w 116"/>
                  <a:gd name="T47" fmla="*/ 24 h 34"/>
                  <a:gd name="T48" fmla="*/ 112 w 116"/>
                  <a:gd name="T49" fmla="*/ 23 h 34"/>
                  <a:gd name="T50" fmla="*/ 112 w 116"/>
                  <a:gd name="T51" fmla="*/ 22 h 34"/>
                  <a:gd name="T52" fmla="*/ 110 w 116"/>
                  <a:gd name="T53" fmla="*/ 23 h 34"/>
                  <a:gd name="T54" fmla="*/ 67 w 116"/>
                  <a:gd name="T55" fmla="*/ 30 h 34"/>
                  <a:gd name="T56" fmla="*/ 22 w 116"/>
                  <a:gd name="T57" fmla="*/ 23 h 34"/>
                  <a:gd name="T58" fmla="*/ 11 w 116"/>
                  <a:gd name="T59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34">
                    <a:moveTo>
                      <a:pt x="67" y="34"/>
                    </a:moveTo>
                    <a:cubicBezTo>
                      <a:pt x="50" y="34"/>
                      <a:pt x="34" y="32"/>
                      <a:pt x="22" y="27"/>
                    </a:cubicBezTo>
                    <a:cubicBezTo>
                      <a:pt x="7" y="22"/>
                      <a:pt x="0" y="14"/>
                      <a:pt x="0" y="5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5" y="10"/>
                      <a:pt x="15" y="16"/>
                      <a:pt x="23" y="19"/>
                    </a:cubicBezTo>
                    <a:cubicBezTo>
                      <a:pt x="35" y="23"/>
                      <a:pt x="50" y="26"/>
                      <a:pt x="67" y="26"/>
                    </a:cubicBezTo>
                    <a:cubicBezTo>
                      <a:pt x="83" y="25"/>
                      <a:pt x="98" y="23"/>
                      <a:pt x="109" y="19"/>
                    </a:cubicBezTo>
                    <a:cubicBezTo>
                      <a:pt x="109" y="19"/>
                      <a:pt x="109" y="19"/>
                      <a:pt x="109" y="19"/>
                    </a:cubicBezTo>
                    <a:cubicBezTo>
                      <a:pt x="111" y="19"/>
                      <a:pt x="112" y="18"/>
                      <a:pt x="114" y="18"/>
                    </a:cubicBezTo>
                    <a:cubicBezTo>
                      <a:pt x="114" y="17"/>
                      <a:pt x="115" y="17"/>
                      <a:pt x="115" y="18"/>
                    </a:cubicBezTo>
                    <a:cubicBezTo>
                      <a:pt x="116" y="18"/>
                      <a:pt x="116" y="19"/>
                      <a:pt x="116" y="19"/>
                    </a:cubicBezTo>
                    <a:cubicBezTo>
                      <a:pt x="116" y="24"/>
                      <a:pt x="116" y="24"/>
                      <a:pt x="116" y="24"/>
                    </a:cubicBezTo>
                    <a:cubicBezTo>
                      <a:pt x="116" y="25"/>
                      <a:pt x="116" y="26"/>
                      <a:pt x="115" y="26"/>
                    </a:cubicBezTo>
                    <a:cubicBezTo>
                      <a:pt x="115" y="26"/>
                      <a:pt x="115" y="26"/>
                      <a:pt x="115" y="26"/>
                    </a:cubicBezTo>
                    <a:cubicBezTo>
                      <a:pt x="113" y="27"/>
                      <a:pt x="112" y="28"/>
                      <a:pt x="110" y="28"/>
                    </a:cubicBezTo>
                    <a:cubicBezTo>
                      <a:pt x="99" y="32"/>
                      <a:pt x="83" y="34"/>
                      <a:pt x="67" y="34"/>
                    </a:cubicBezTo>
                    <a:close/>
                    <a:moveTo>
                      <a:pt x="11" y="17"/>
                    </a:moveTo>
                    <a:cubicBezTo>
                      <a:pt x="15" y="20"/>
                      <a:pt x="20" y="22"/>
                      <a:pt x="23" y="24"/>
                    </a:cubicBezTo>
                    <a:cubicBezTo>
                      <a:pt x="35" y="28"/>
                      <a:pt x="50" y="30"/>
                      <a:pt x="67" y="30"/>
                    </a:cubicBezTo>
                    <a:cubicBezTo>
                      <a:pt x="83" y="30"/>
                      <a:pt x="98" y="28"/>
                      <a:pt x="109" y="24"/>
                    </a:cubicBezTo>
                    <a:cubicBezTo>
                      <a:pt x="110" y="24"/>
                      <a:pt x="111" y="23"/>
                      <a:pt x="112" y="23"/>
                    </a:cubicBezTo>
                    <a:cubicBezTo>
                      <a:pt x="112" y="22"/>
                      <a:pt x="112" y="22"/>
                      <a:pt x="112" y="22"/>
                    </a:cubicBezTo>
                    <a:cubicBezTo>
                      <a:pt x="112" y="23"/>
                      <a:pt x="111" y="23"/>
                      <a:pt x="110" y="23"/>
                    </a:cubicBezTo>
                    <a:cubicBezTo>
                      <a:pt x="99" y="27"/>
                      <a:pt x="83" y="29"/>
                      <a:pt x="67" y="30"/>
                    </a:cubicBezTo>
                    <a:cubicBezTo>
                      <a:pt x="50" y="30"/>
                      <a:pt x="34" y="27"/>
                      <a:pt x="22" y="23"/>
                    </a:cubicBezTo>
                    <a:cubicBezTo>
                      <a:pt x="18" y="21"/>
                      <a:pt x="14" y="19"/>
                      <a:pt x="1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56"/>
              <p:cNvSpPr>
                <a:spLocks noEditPoints="1"/>
              </p:cNvSpPr>
              <p:nvPr/>
            </p:nvSpPr>
            <p:spPr bwMode="gray">
              <a:xfrm>
                <a:off x="3545" y="2354"/>
                <a:ext cx="276" cy="123"/>
              </a:xfrm>
              <a:custGeom>
                <a:avLst/>
                <a:gdLst>
                  <a:gd name="T0" fmla="*/ 67 w 116"/>
                  <a:gd name="T1" fmla="*/ 52 h 52"/>
                  <a:gd name="T2" fmla="*/ 22 w 116"/>
                  <a:gd name="T3" fmla="*/ 45 h 52"/>
                  <a:gd name="T4" fmla="*/ 0 w 116"/>
                  <a:gd name="T5" fmla="*/ 24 h 52"/>
                  <a:gd name="T6" fmla="*/ 0 w 116"/>
                  <a:gd name="T7" fmla="*/ 22 h 52"/>
                  <a:gd name="T8" fmla="*/ 0 w 116"/>
                  <a:gd name="T9" fmla="*/ 21 h 52"/>
                  <a:gd name="T10" fmla="*/ 8 w 116"/>
                  <a:gd name="T11" fmla="*/ 6 h 52"/>
                  <a:gd name="T12" fmla="*/ 8 w 116"/>
                  <a:gd name="T13" fmla="*/ 6 h 52"/>
                  <a:gd name="T14" fmla="*/ 16 w 116"/>
                  <a:gd name="T15" fmla="*/ 1 h 52"/>
                  <a:gd name="T16" fmla="*/ 19 w 116"/>
                  <a:gd name="T17" fmla="*/ 0 h 52"/>
                  <a:gd name="T18" fmla="*/ 21 w 116"/>
                  <a:gd name="T19" fmla="*/ 0 h 52"/>
                  <a:gd name="T20" fmla="*/ 22 w 116"/>
                  <a:gd name="T21" fmla="*/ 2 h 52"/>
                  <a:gd name="T22" fmla="*/ 22 w 116"/>
                  <a:gd name="T23" fmla="*/ 9 h 52"/>
                  <a:gd name="T24" fmla="*/ 27 w 116"/>
                  <a:gd name="T25" fmla="*/ 12 h 52"/>
                  <a:gd name="T26" fmla="*/ 37 w 116"/>
                  <a:gd name="T27" fmla="*/ 8 h 52"/>
                  <a:gd name="T28" fmla="*/ 39 w 116"/>
                  <a:gd name="T29" fmla="*/ 8 h 52"/>
                  <a:gd name="T30" fmla="*/ 45 w 116"/>
                  <a:gd name="T31" fmla="*/ 10 h 52"/>
                  <a:gd name="T32" fmla="*/ 45 w 116"/>
                  <a:gd name="T33" fmla="*/ 10 h 52"/>
                  <a:gd name="T34" fmla="*/ 47 w 116"/>
                  <a:gd name="T35" fmla="*/ 10 h 52"/>
                  <a:gd name="T36" fmla="*/ 64 w 116"/>
                  <a:gd name="T37" fmla="*/ 18 h 52"/>
                  <a:gd name="T38" fmla="*/ 65 w 116"/>
                  <a:gd name="T39" fmla="*/ 19 h 52"/>
                  <a:gd name="T40" fmla="*/ 66 w 116"/>
                  <a:gd name="T41" fmla="*/ 20 h 52"/>
                  <a:gd name="T42" fmla="*/ 67 w 116"/>
                  <a:gd name="T43" fmla="*/ 20 h 52"/>
                  <a:gd name="T44" fmla="*/ 67 w 116"/>
                  <a:gd name="T45" fmla="*/ 20 h 52"/>
                  <a:gd name="T46" fmla="*/ 81 w 116"/>
                  <a:gd name="T47" fmla="*/ 26 h 52"/>
                  <a:gd name="T48" fmla="*/ 83 w 116"/>
                  <a:gd name="T49" fmla="*/ 28 h 52"/>
                  <a:gd name="T50" fmla="*/ 83 w 116"/>
                  <a:gd name="T51" fmla="*/ 37 h 52"/>
                  <a:gd name="T52" fmla="*/ 88 w 116"/>
                  <a:gd name="T53" fmla="*/ 39 h 52"/>
                  <a:gd name="T54" fmla="*/ 101 w 116"/>
                  <a:gd name="T55" fmla="*/ 34 h 52"/>
                  <a:gd name="T56" fmla="*/ 102 w 116"/>
                  <a:gd name="T57" fmla="*/ 34 h 52"/>
                  <a:gd name="T58" fmla="*/ 115 w 116"/>
                  <a:gd name="T59" fmla="*/ 40 h 52"/>
                  <a:gd name="T60" fmla="*/ 116 w 116"/>
                  <a:gd name="T61" fmla="*/ 42 h 52"/>
                  <a:gd name="T62" fmla="*/ 115 w 116"/>
                  <a:gd name="T63" fmla="*/ 43 h 52"/>
                  <a:gd name="T64" fmla="*/ 110 w 116"/>
                  <a:gd name="T65" fmla="*/ 45 h 52"/>
                  <a:gd name="T66" fmla="*/ 67 w 116"/>
                  <a:gd name="T67" fmla="*/ 52 h 52"/>
                  <a:gd name="T68" fmla="*/ 11 w 116"/>
                  <a:gd name="T69" fmla="*/ 9 h 52"/>
                  <a:gd name="T70" fmla="*/ 4 w 116"/>
                  <a:gd name="T71" fmla="*/ 22 h 52"/>
                  <a:gd name="T72" fmla="*/ 4 w 116"/>
                  <a:gd name="T73" fmla="*/ 24 h 52"/>
                  <a:gd name="T74" fmla="*/ 23 w 116"/>
                  <a:gd name="T75" fmla="*/ 41 h 52"/>
                  <a:gd name="T76" fmla="*/ 67 w 116"/>
                  <a:gd name="T77" fmla="*/ 48 h 52"/>
                  <a:gd name="T78" fmla="*/ 109 w 116"/>
                  <a:gd name="T79" fmla="*/ 41 h 52"/>
                  <a:gd name="T80" fmla="*/ 109 w 116"/>
                  <a:gd name="T81" fmla="*/ 41 h 52"/>
                  <a:gd name="T82" fmla="*/ 101 w 116"/>
                  <a:gd name="T83" fmla="*/ 38 h 52"/>
                  <a:gd name="T84" fmla="*/ 89 w 116"/>
                  <a:gd name="T85" fmla="*/ 43 h 52"/>
                  <a:gd name="T86" fmla="*/ 88 w 116"/>
                  <a:gd name="T87" fmla="*/ 43 h 52"/>
                  <a:gd name="T88" fmla="*/ 80 w 116"/>
                  <a:gd name="T89" fmla="*/ 40 h 52"/>
                  <a:gd name="T90" fmla="*/ 79 w 116"/>
                  <a:gd name="T91" fmla="*/ 38 h 52"/>
                  <a:gd name="T92" fmla="*/ 79 w 116"/>
                  <a:gd name="T93" fmla="*/ 29 h 52"/>
                  <a:gd name="T94" fmla="*/ 67 w 116"/>
                  <a:gd name="T95" fmla="*/ 24 h 52"/>
                  <a:gd name="T96" fmla="*/ 66 w 116"/>
                  <a:gd name="T97" fmla="*/ 24 h 52"/>
                  <a:gd name="T98" fmla="*/ 65 w 116"/>
                  <a:gd name="T99" fmla="*/ 24 h 52"/>
                  <a:gd name="T100" fmla="*/ 62 w 116"/>
                  <a:gd name="T101" fmla="*/ 22 h 52"/>
                  <a:gd name="T102" fmla="*/ 61 w 116"/>
                  <a:gd name="T103" fmla="*/ 21 h 52"/>
                  <a:gd name="T104" fmla="*/ 46 w 116"/>
                  <a:gd name="T105" fmla="*/ 14 h 52"/>
                  <a:gd name="T106" fmla="*/ 46 w 116"/>
                  <a:gd name="T107" fmla="*/ 14 h 52"/>
                  <a:gd name="T108" fmla="*/ 44 w 116"/>
                  <a:gd name="T109" fmla="*/ 14 h 52"/>
                  <a:gd name="T110" fmla="*/ 38 w 116"/>
                  <a:gd name="T111" fmla="*/ 12 h 52"/>
                  <a:gd name="T112" fmla="*/ 28 w 116"/>
                  <a:gd name="T113" fmla="*/ 16 h 52"/>
                  <a:gd name="T114" fmla="*/ 27 w 116"/>
                  <a:gd name="T115" fmla="*/ 16 h 52"/>
                  <a:gd name="T116" fmla="*/ 19 w 116"/>
                  <a:gd name="T117" fmla="*/ 13 h 52"/>
                  <a:gd name="T118" fmla="*/ 18 w 116"/>
                  <a:gd name="T119" fmla="*/ 11 h 52"/>
                  <a:gd name="T120" fmla="*/ 18 w 116"/>
                  <a:gd name="T121" fmla="*/ 5 h 52"/>
                  <a:gd name="T122" fmla="*/ 11 w 116"/>
                  <a:gd name="T123" fmla="*/ 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52">
                    <a:moveTo>
                      <a:pt x="67" y="52"/>
                    </a:moveTo>
                    <a:cubicBezTo>
                      <a:pt x="50" y="52"/>
                      <a:pt x="34" y="49"/>
                      <a:pt x="22" y="45"/>
                    </a:cubicBezTo>
                    <a:cubicBezTo>
                      <a:pt x="9" y="40"/>
                      <a:pt x="1" y="33"/>
                      <a:pt x="0" y="24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2"/>
                      <a:pt x="0" y="21"/>
                      <a:pt x="0" y="21"/>
                    </a:cubicBezTo>
                    <a:cubicBezTo>
                      <a:pt x="0" y="18"/>
                      <a:pt x="1" y="12"/>
                      <a:pt x="8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10" y="4"/>
                      <a:pt x="13" y="3"/>
                      <a:pt x="16" y="1"/>
                    </a:cubicBezTo>
                    <a:cubicBezTo>
                      <a:pt x="17" y="1"/>
                      <a:pt x="18" y="0"/>
                      <a:pt x="19" y="0"/>
                    </a:cubicBezTo>
                    <a:cubicBezTo>
                      <a:pt x="19" y="0"/>
                      <a:pt x="20" y="0"/>
                      <a:pt x="21" y="0"/>
                    </a:cubicBezTo>
                    <a:cubicBezTo>
                      <a:pt x="21" y="0"/>
                      <a:pt x="22" y="1"/>
                      <a:pt x="22" y="2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7" y="12"/>
                      <a:pt x="27" y="12"/>
                      <a:pt x="27" y="12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8" y="7"/>
                      <a:pt x="38" y="7"/>
                      <a:pt x="39" y="8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6" y="10"/>
                      <a:pt x="47" y="10"/>
                      <a:pt x="47" y="10"/>
                    </a:cubicBezTo>
                    <a:cubicBezTo>
                      <a:pt x="64" y="18"/>
                      <a:pt x="64" y="18"/>
                      <a:pt x="64" y="18"/>
                    </a:cubicBezTo>
                    <a:cubicBezTo>
                      <a:pt x="64" y="18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7" y="19"/>
                      <a:pt x="67" y="20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82" y="26"/>
                      <a:pt x="83" y="27"/>
                      <a:pt x="83" y="28"/>
                    </a:cubicBezTo>
                    <a:cubicBezTo>
                      <a:pt x="83" y="37"/>
                      <a:pt x="83" y="37"/>
                      <a:pt x="83" y="37"/>
                    </a:cubicBezTo>
                    <a:cubicBezTo>
                      <a:pt x="88" y="39"/>
                      <a:pt x="88" y="39"/>
                      <a:pt x="88" y="39"/>
                    </a:cubicBezTo>
                    <a:cubicBezTo>
                      <a:pt x="101" y="34"/>
                      <a:pt x="101" y="34"/>
                      <a:pt x="101" y="34"/>
                    </a:cubicBezTo>
                    <a:cubicBezTo>
                      <a:pt x="101" y="34"/>
                      <a:pt x="102" y="34"/>
                      <a:pt x="102" y="34"/>
                    </a:cubicBezTo>
                    <a:cubicBezTo>
                      <a:pt x="115" y="40"/>
                      <a:pt x="115" y="40"/>
                      <a:pt x="115" y="40"/>
                    </a:cubicBezTo>
                    <a:cubicBezTo>
                      <a:pt x="116" y="40"/>
                      <a:pt x="116" y="41"/>
                      <a:pt x="116" y="42"/>
                    </a:cubicBezTo>
                    <a:cubicBezTo>
                      <a:pt x="116" y="42"/>
                      <a:pt x="116" y="43"/>
                      <a:pt x="115" y="43"/>
                    </a:cubicBezTo>
                    <a:cubicBezTo>
                      <a:pt x="114" y="44"/>
                      <a:pt x="112" y="45"/>
                      <a:pt x="110" y="45"/>
                    </a:cubicBezTo>
                    <a:cubicBezTo>
                      <a:pt x="99" y="49"/>
                      <a:pt x="83" y="51"/>
                      <a:pt x="67" y="52"/>
                    </a:cubicBezTo>
                    <a:close/>
                    <a:moveTo>
                      <a:pt x="11" y="9"/>
                    </a:moveTo>
                    <a:cubicBezTo>
                      <a:pt x="4" y="14"/>
                      <a:pt x="4" y="19"/>
                      <a:pt x="4" y="22"/>
                    </a:cubicBezTo>
                    <a:cubicBezTo>
                      <a:pt x="4" y="22"/>
                      <a:pt x="4" y="23"/>
                      <a:pt x="4" y="24"/>
                    </a:cubicBezTo>
                    <a:cubicBezTo>
                      <a:pt x="5" y="32"/>
                      <a:pt x="15" y="38"/>
                      <a:pt x="23" y="41"/>
                    </a:cubicBezTo>
                    <a:cubicBezTo>
                      <a:pt x="35" y="45"/>
                      <a:pt x="50" y="48"/>
                      <a:pt x="67" y="48"/>
                    </a:cubicBezTo>
                    <a:cubicBezTo>
                      <a:pt x="83" y="47"/>
                      <a:pt x="98" y="45"/>
                      <a:pt x="109" y="41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1" y="38"/>
                      <a:pt x="101" y="38"/>
                      <a:pt x="101" y="38"/>
                    </a:cubicBezTo>
                    <a:cubicBezTo>
                      <a:pt x="89" y="43"/>
                      <a:pt x="89" y="43"/>
                      <a:pt x="89" y="43"/>
                    </a:cubicBezTo>
                    <a:cubicBezTo>
                      <a:pt x="89" y="44"/>
                      <a:pt x="88" y="44"/>
                      <a:pt x="88" y="43"/>
                    </a:cubicBezTo>
                    <a:cubicBezTo>
                      <a:pt x="80" y="40"/>
                      <a:pt x="80" y="40"/>
                      <a:pt x="80" y="40"/>
                    </a:cubicBezTo>
                    <a:cubicBezTo>
                      <a:pt x="79" y="40"/>
                      <a:pt x="79" y="39"/>
                      <a:pt x="79" y="38"/>
                    </a:cubicBezTo>
                    <a:cubicBezTo>
                      <a:pt x="79" y="29"/>
                      <a:pt x="79" y="29"/>
                      <a:pt x="79" y="29"/>
                    </a:cubicBezTo>
                    <a:cubicBezTo>
                      <a:pt x="67" y="24"/>
                      <a:pt x="67" y="24"/>
                      <a:pt x="67" y="24"/>
                    </a:cubicBezTo>
                    <a:cubicBezTo>
                      <a:pt x="66" y="24"/>
                      <a:pt x="66" y="24"/>
                      <a:pt x="66" y="24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61" y="22"/>
                      <a:pt x="61" y="22"/>
                      <a:pt x="61" y="21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6" y="14"/>
                      <a:pt x="46" y="14"/>
                      <a:pt x="46" y="14"/>
                    </a:cubicBezTo>
                    <a:cubicBezTo>
                      <a:pt x="45" y="15"/>
                      <a:pt x="45" y="15"/>
                      <a:pt x="44" y="14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16"/>
                      <a:pt x="27" y="16"/>
                      <a:pt x="27" y="16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8" y="12"/>
                      <a:pt x="18" y="12"/>
                      <a:pt x="18" y="11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5" y="6"/>
                      <a:pt x="13" y="7"/>
                      <a:pt x="1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57"/>
              <p:cNvSpPr>
                <a:spLocks noEditPoints="1"/>
              </p:cNvSpPr>
              <p:nvPr/>
            </p:nvSpPr>
            <p:spPr bwMode="gray">
              <a:xfrm>
                <a:off x="3604" y="2259"/>
                <a:ext cx="36" cy="133"/>
              </a:xfrm>
              <a:custGeom>
                <a:avLst/>
                <a:gdLst>
                  <a:gd name="T0" fmla="*/ 2 w 15"/>
                  <a:gd name="T1" fmla="*/ 56 h 56"/>
                  <a:gd name="T2" fmla="*/ 1 w 15"/>
                  <a:gd name="T3" fmla="*/ 56 h 56"/>
                  <a:gd name="T4" fmla="*/ 0 w 15"/>
                  <a:gd name="T5" fmla="*/ 54 h 56"/>
                  <a:gd name="T6" fmla="*/ 0 w 15"/>
                  <a:gd name="T7" fmla="*/ 2 h 56"/>
                  <a:gd name="T8" fmla="*/ 1 w 15"/>
                  <a:gd name="T9" fmla="*/ 1 h 56"/>
                  <a:gd name="T10" fmla="*/ 3 w 15"/>
                  <a:gd name="T11" fmla="*/ 0 h 56"/>
                  <a:gd name="T12" fmla="*/ 13 w 15"/>
                  <a:gd name="T13" fmla="*/ 3 h 56"/>
                  <a:gd name="T14" fmla="*/ 15 w 15"/>
                  <a:gd name="T15" fmla="*/ 5 h 56"/>
                  <a:gd name="T16" fmla="*/ 15 w 15"/>
                  <a:gd name="T17" fmla="*/ 49 h 56"/>
                  <a:gd name="T18" fmla="*/ 15 w 15"/>
                  <a:gd name="T19" fmla="*/ 49 h 56"/>
                  <a:gd name="T20" fmla="*/ 14 w 15"/>
                  <a:gd name="T21" fmla="*/ 51 h 56"/>
                  <a:gd name="T22" fmla="*/ 3 w 15"/>
                  <a:gd name="T23" fmla="*/ 56 h 56"/>
                  <a:gd name="T24" fmla="*/ 2 w 15"/>
                  <a:gd name="T25" fmla="*/ 56 h 56"/>
                  <a:gd name="T26" fmla="*/ 4 w 15"/>
                  <a:gd name="T27" fmla="*/ 5 h 56"/>
                  <a:gd name="T28" fmla="*/ 4 w 15"/>
                  <a:gd name="T29" fmla="*/ 51 h 56"/>
                  <a:gd name="T30" fmla="*/ 11 w 15"/>
                  <a:gd name="T31" fmla="*/ 48 h 56"/>
                  <a:gd name="T32" fmla="*/ 11 w 15"/>
                  <a:gd name="T33" fmla="*/ 6 h 56"/>
                  <a:gd name="T34" fmla="*/ 4 w 15"/>
                  <a:gd name="T35" fmla="*/ 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" h="56">
                    <a:moveTo>
                      <a:pt x="2" y="56"/>
                    </a:moveTo>
                    <a:cubicBezTo>
                      <a:pt x="2" y="56"/>
                      <a:pt x="2" y="56"/>
                      <a:pt x="1" y="56"/>
                    </a:cubicBezTo>
                    <a:cubicBezTo>
                      <a:pt x="1" y="56"/>
                      <a:pt x="0" y="55"/>
                      <a:pt x="0" y="5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6" y="1"/>
                      <a:pt x="10" y="2"/>
                      <a:pt x="13" y="3"/>
                    </a:cubicBezTo>
                    <a:cubicBezTo>
                      <a:pt x="14" y="3"/>
                      <a:pt x="15" y="4"/>
                      <a:pt x="15" y="5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5" y="50"/>
                      <a:pt x="14" y="51"/>
                      <a:pt x="14" y="51"/>
                    </a:cubicBezTo>
                    <a:cubicBezTo>
                      <a:pt x="3" y="56"/>
                      <a:pt x="3" y="56"/>
                      <a:pt x="3" y="56"/>
                    </a:cubicBezTo>
                    <a:cubicBezTo>
                      <a:pt x="3" y="56"/>
                      <a:pt x="3" y="56"/>
                      <a:pt x="2" y="56"/>
                    </a:cubicBezTo>
                    <a:close/>
                    <a:moveTo>
                      <a:pt x="4" y="5"/>
                    </a:moveTo>
                    <a:cubicBezTo>
                      <a:pt x="4" y="51"/>
                      <a:pt x="4" y="51"/>
                      <a:pt x="4" y="51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9" y="6"/>
                      <a:pt x="6" y="5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58"/>
              <p:cNvSpPr>
                <a:spLocks/>
              </p:cNvSpPr>
              <p:nvPr/>
            </p:nvSpPr>
            <p:spPr bwMode="gray">
              <a:xfrm>
                <a:off x="3630" y="2266"/>
                <a:ext cx="19" cy="119"/>
              </a:xfrm>
              <a:custGeom>
                <a:avLst/>
                <a:gdLst>
                  <a:gd name="T0" fmla="*/ 6 w 8"/>
                  <a:gd name="T1" fmla="*/ 50 h 50"/>
                  <a:gd name="T2" fmla="*/ 5 w 8"/>
                  <a:gd name="T3" fmla="*/ 50 h 50"/>
                  <a:gd name="T4" fmla="*/ 1 w 8"/>
                  <a:gd name="T5" fmla="*/ 48 h 50"/>
                  <a:gd name="T6" fmla="*/ 0 w 8"/>
                  <a:gd name="T7" fmla="*/ 46 h 50"/>
                  <a:gd name="T8" fmla="*/ 0 w 8"/>
                  <a:gd name="T9" fmla="*/ 2 h 50"/>
                  <a:gd name="T10" fmla="*/ 1 w 8"/>
                  <a:gd name="T11" fmla="*/ 0 h 50"/>
                  <a:gd name="T12" fmla="*/ 2 w 8"/>
                  <a:gd name="T13" fmla="*/ 0 h 50"/>
                  <a:gd name="T14" fmla="*/ 6 w 8"/>
                  <a:gd name="T15" fmla="*/ 1 h 50"/>
                  <a:gd name="T16" fmla="*/ 8 w 8"/>
                  <a:gd name="T17" fmla="*/ 3 h 50"/>
                  <a:gd name="T18" fmla="*/ 8 w 8"/>
                  <a:gd name="T19" fmla="*/ 48 h 50"/>
                  <a:gd name="T20" fmla="*/ 7 w 8"/>
                  <a:gd name="T21" fmla="*/ 50 h 50"/>
                  <a:gd name="T22" fmla="*/ 6 w 8"/>
                  <a:gd name="T2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50">
                    <a:moveTo>
                      <a:pt x="6" y="50"/>
                    </a:moveTo>
                    <a:cubicBezTo>
                      <a:pt x="5" y="50"/>
                      <a:pt x="5" y="50"/>
                      <a:pt x="5" y="50"/>
                    </a:cubicBezTo>
                    <a:cubicBezTo>
                      <a:pt x="1" y="48"/>
                      <a:pt x="1" y="48"/>
                      <a:pt x="1" y="48"/>
                    </a:cubicBezTo>
                    <a:cubicBezTo>
                      <a:pt x="0" y="48"/>
                      <a:pt x="0" y="47"/>
                      <a:pt x="0" y="4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4" y="0"/>
                      <a:pt x="5" y="1"/>
                      <a:pt x="6" y="1"/>
                    </a:cubicBezTo>
                    <a:cubicBezTo>
                      <a:pt x="7" y="1"/>
                      <a:pt x="8" y="2"/>
                      <a:pt x="8" y="3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49"/>
                      <a:pt x="7" y="49"/>
                      <a:pt x="7" y="50"/>
                    </a:cubicBezTo>
                    <a:cubicBezTo>
                      <a:pt x="6" y="50"/>
                      <a:pt x="6" y="50"/>
                      <a:pt x="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59"/>
              <p:cNvSpPr>
                <a:spLocks noEditPoints="1"/>
              </p:cNvSpPr>
              <p:nvPr/>
            </p:nvSpPr>
            <p:spPr bwMode="gray">
              <a:xfrm>
                <a:off x="3640" y="2268"/>
                <a:ext cx="102" cy="143"/>
              </a:xfrm>
              <a:custGeom>
                <a:avLst/>
                <a:gdLst>
                  <a:gd name="T0" fmla="*/ 26 w 43"/>
                  <a:gd name="T1" fmla="*/ 60 h 60"/>
                  <a:gd name="T2" fmla="*/ 25 w 43"/>
                  <a:gd name="T3" fmla="*/ 60 h 60"/>
                  <a:gd name="T4" fmla="*/ 22 w 43"/>
                  <a:gd name="T5" fmla="*/ 58 h 60"/>
                  <a:gd name="T6" fmla="*/ 21 w 43"/>
                  <a:gd name="T7" fmla="*/ 57 h 60"/>
                  <a:gd name="T8" fmla="*/ 6 w 43"/>
                  <a:gd name="T9" fmla="*/ 50 h 60"/>
                  <a:gd name="T10" fmla="*/ 6 w 43"/>
                  <a:gd name="T11" fmla="*/ 50 h 60"/>
                  <a:gd name="T12" fmla="*/ 4 w 43"/>
                  <a:gd name="T13" fmla="*/ 50 h 60"/>
                  <a:gd name="T14" fmla="*/ 1 w 43"/>
                  <a:gd name="T15" fmla="*/ 49 h 60"/>
                  <a:gd name="T16" fmla="*/ 0 w 43"/>
                  <a:gd name="T17" fmla="*/ 47 h 60"/>
                  <a:gd name="T18" fmla="*/ 0 w 43"/>
                  <a:gd name="T19" fmla="*/ 2 h 60"/>
                  <a:gd name="T20" fmla="*/ 1 w 43"/>
                  <a:gd name="T21" fmla="*/ 0 h 60"/>
                  <a:gd name="T22" fmla="*/ 2 w 43"/>
                  <a:gd name="T23" fmla="*/ 0 h 60"/>
                  <a:gd name="T24" fmla="*/ 15 w 43"/>
                  <a:gd name="T25" fmla="*/ 5 h 60"/>
                  <a:gd name="T26" fmla="*/ 42 w 43"/>
                  <a:gd name="T27" fmla="*/ 21 h 60"/>
                  <a:gd name="T28" fmla="*/ 42 w 43"/>
                  <a:gd name="T29" fmla="*/ 23 h 60"/>
                  <a:gd name="T30" fmla="*/ 39 w 43"/>
                  <a:gd name="T31" fmla="*/ 24 h 60"/>
                  <a:gd name="T32" fmla="*/ 35 w 43"/>
                  <a:gd name="T33" fmla="*/ 22 h 60"/>
                  <a:gd name="T34" fmla="*/ 29 w 43"/>
                  <a:gd name="T35" fmla="*/ 19 h 60"/>
                  <a:gd name="T36" fmla="*/ 29 w 43"/>
                  <a:gd name="T37" fmla="*/ 57 h 60"/>
                  <a:gd name="T38" fmla="*/ 27 w 43"/>
                  <a:gd name="T39" fmla="*/ 59 h 60"/>
                  <a:gd name="T40" fmla="*/ 26 w 43"/>
                  <a:gd name="T41" fmla="*/ 60 h 60"/>
                  <a:gd name="T42" fmla="*/ 26 w 43"/>
                  <a:gd name="T43" fmla="*/ 60 h 60"/>
                  <a:gd name="T44" fmla="*/ 8 w 43"/>
                  <a:gd name="T45" fmla="*/ 47 h 60"/>
                  <a:gd name="T46" fmla="*/ 22 w 43"/>
                  <a:gd name="T47" fmla="*/ 53 h 60"/>
                  <a:gd name="T48" fmla="*/ 22 w 43"/>
                  <a:gd name="T49" fmla="*/ 17 h 60"/>
                  <a:gd name="T50" fmla="*/ 14 w 43"/>
                  <a:gd name="T51" fmla="*/ 12 h 60"/>
                  <a:gd name="T52" fmla="*/ 8 w 43"/>
                  <a:gd name="T53" fmla="*/ 10 h 60"/>
                  <a:gd name="T54" fmla="*/ 8 w 43"/>
                  <a:gd name="T55" fmla="*/ 47 h 60"/>
                  <a:gd name="T56" fmla="*/ 4 w 43"/>
                  <a:gd name="T57" fmla="*/ 46 h 60"/>
                  <a:gd name="T58" fmla="*/ 4 w 43"/>
                  <a:gd name="T59" fmla="*/ 46 h 60"/>
                  <a:gd name="T60" fmla="*/ 4 w 43"/>
                  <a:gd name="T61" fmla="*/ 8 h 60"/>
                  <a:gd name="T62" fmla="*/ 5 w 43"/>
                  <a:gd name="T63" fmla="*/ 6 h 60"/>
                  <a:gd name="T64" fmla="*/ 6 w 43"/>
                  <a:gd name="T65" fmla="*/ 6 h 60"/>
                  <a:gd name="T66" fmla="*/ 4 w 43"/>
                  <a:gd name="T67" fmla="*/ 5 h 60"/>
                  <a:gd name="T68" fmla="*/ 4 w 43"/>
                  <a:gd name="T69" fmla="*/ 4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3" h="60">
                    <a:moveTo>
                      <a:pt x="26" y="60"/>
                    </a:moveTo>
                    <a:cubicBezTo>
                      <a:pt x="25" y="60"/>
                      <a:pt x="25" y="60"/>
                      <a:pt x="25" y="60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1" y="58"/>
                      <a:pt x="21" y="58"/>
                      <a:pt x="21" y="57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6" y="50"/>
                      <a:pt x="6" y="50"/>
                      <a:pt x="6" y="50"/>
                    </a:cubicBezTo>
                    <a:cubicBezTo>
                      <a:pt x="5" y="51"/>
                      <a:pt x="5" y="51"/>
                      <a:pt x="4" y="50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0" y="49"/>
                      <a:pt x="0" y="48"/>
                      <a:pt x="0" y="47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6" y="1"/>
                      <a:pt x="11" y="3"/>
                      <a:pt x="15" y="5"/>
                    </a:cubicBezTo>
                    <a:cubicBezTo>
                      <a:pt x="24" y="9"/>
                      <a:pt x="34" y="15"/>
                      <a:pt x="42" y="21"/>
                    </a:cubicBezTo>
                    <a:cubicBezTo>
                      <a:pt x="42" y="21"/>
                      <a:pt x="43" y="23"/>
                      <a:pt x="42" y="23"/>
                    </a:cubicBezTo>
                    <a:cubicBezTo>
                      <a:pt x="41" y="24"/>
                      <a:pt x="40" y="25"/>
                      <a:pt x="39" y="24"/>
                    </a:cubicBezTo>
                    <a:cubicBezTo>
                      <a:pt x="38" y="23"/>
                      <a:pt x="36" y="22"/>
                      <a:pt x="35" y="22"/>
                    </a:cubicBezTo>
                    <a:cubicBezTo>
                      <a:pt x="33" y="21"/>
                      <a:pt x="31" y="20"/>
                      <a:pt x="29" y="19"/>
                    </a:cubicBezTo>
                    <a:cubicBezTo>
                      <a:pt x="29" y="57"/>
                      <a:pt x="29" y="57"/>
                      <a:pt x="29" y="57"/>
                    </a:cubicBezTo>
                    <a:cubicBezTo>
                      <a:pt x="29" y="58"/>
                      <a:pt x="28" y="59"/>
                      <a:pt x="27" y="59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26" y="60"/>
                      <a:pt x="26" y="60"/>
                      <a:pt x="26" y="60"/>
                    </a:cubicBezTo>
                    <a:close/>
                    <a:moveTo>
                      <a:pt x="8" y="47"/>
                    </a:moveTo>
                    <a:cubicBezTo>
                      <a:pt x="22" y="53"/>
                      <a:pt x="22" y="53"/>
                      <a:pt x="22" y="53"/>
                    </a:cubicBezTo>
                    <a:cubicBezTo>
                      <a:pt x="22" y="17"/>
                      <a:pt x="22" y="17"/>
                      <a:pt x="22" y="17"/>
                    </a:cubicBezTo>
                    <a:cubicBezTo>
                      <a:pt x="20" y="15"/>
                      <a:pt x="17" y="14"/>
                      <a:pt x="14" y="12"/>
                    </a:cubicBezTo>
                    <a:cubicBezTo>
                      <a:pt x="12" y="12"/>
                      <a:pt x="10" y="11"/>
                      <a:pt x="8" y="10"/>
                    </a:cubicBezTo>
                    <a:lnTo>
                      <a:pt x="8" y="47"/>
                    </a:lnTo>
                    <a:close/>
                    <a:moveTo>
                      <a:pt x="4" y="46"/>
                    </a:moveTo>
                    <a:cubicBezTo>
                      <a:pt x="4" y="46"/>
                      <a:pt x="4" y="46"/>
                      <a:pt x="4" y="46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6"/>
                    </a:cubicBezTo>
                    <a:cubicBezTo>
                      <a:pt x="5" y="6"/>
                      <a:pt x="6" y="6"/>
                      <a:pt x="6" y="6"/>
                    </a:cubicBezTo>
                    <a:cubicBezTo>
                      <a:pt x="5" y="5"/>
                      <a:pt x="4" y="5"/>
                      <a:pt x="4" y="5"/>
                    </a:cubicBezTo>
                    <a:lnTo>
                      <a:pt x="4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60"/>
              <p:cNvSpPr>
                <a:spLocks/>
              </p:cNvSpPr>
              <p:nvPr/>
            </p:nvSpPr>
            <p:spPr bwMode="gray">
              <a:xfrm>
                <a:off x="3699" y="2399"/>
                <a:ext cx="43" cy="26"/>
              </a:xfrm>
              <a:custGeom>
                <a:avLst/>
                <a:gdLst>
                  <a:gd name="T0" fmla="*/ 16 w 18"/>
                  <a:gd name="T1" fmla="*/ 11 h 11"/>
                  <a:gd name="T2" fmla="*/ 15 w 18"/>
                  <a:gd name="T3" fmla="*/ 10 h 11"/>
                  <a:gd name="T4" fmla="*/ 1 w 18"/>
                  <a:gd name="T5" fmla="*/ 4 h 11"/>
                  <a:gd name="T6" fmla="*/ 0 w 18"/>
                  <a:gd name="T7" fmla="*/ 2 h 11"/>
                  <a:gd name="T8" fmla="*/ 0 w 18"/>
                  <a:gd name="T9" fmla="*/ 2 h 11"/>
                  <a:gd name="T10" fmla="*/ 2 w 18"/>
                  <a:gd name="T11" fmla="*/ 1 h 11"/>
                  <a:gd name="T12" fmla="*/ 16 w 18"/>
                  <a:gd name="T13" fmla="*/ 7 h 11"/>
                  <a:gd name="T14" fmla="*/ 18 w 18"/>
                  <a:gd name="T15" fmla="*/ 9 h 11"/>
                  <a:gd name="T16" fmla="*/ 17 w 18"/>
                  <a:gd name="T17" fmla="*/ 9 h 11"/>
                  <a:gd name="T18" fmla="*/ 16 w 18"/>
                  <a:gd name="T1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11">
                    <a:moveTo>
                      <a:pt x="16" y="11"/>
                    </a:moveTo>
                    <a:cubicBezTo>
                      <a:pt x="15" y="11"/>
                      <a:pt x="15" y="11"/>
                      <a:pt x="15" y="10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4"/>
                      <a:pt x="0" y="3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1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7" y="7"/>
                      <a:pt x="18" y="8"/>
                      <a:pt x="18" y="9"/>
                    </a:cubicBezTo>
                    <a:cubicBezTo>
                      <a:pt x="18" y="9"/>
                      <a:pt x="17" y="9"/>
                      <a:pt x="17" y="9"/>
                    </a:cubicBezTo>
                    <a:cubicBezTo>
                      <a:pt x="17" y="10"/>
                      <a:pt x="16" y="11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61"/>
              <p:cNvSpPr>
                <a:spLocks noEditPoints="1"/>
              </p:cNvSpPr>
              <p:nvPr/>
            </p:nvSpPr>
            <p:spPr bwMode="gray">
              <a:xfrm>
                <a:off x="3604" y="2244"/>
                <a:ext cx="138" cy="81"/>
              </a:xfrm>
              <a:custGeom>
                <a:avLst/>
                <a:gdLst>
                  <a:gd name="T0" fmla="*/ 56 w 58"/>
                  <a:gd name="T1" fmla="*/ 34 h 34"/>
                  <a:gd name="T2" fmla="*/ 55 w 58"/>
                  <a:gd name="T3" fmla="*/ 34 h 34"/>
                  <a:gd name="T4" fmla="*/ 54 w 58"/>
                  <a:gd name="T5" fmla="*/ 34 h 34"/>
                  <a:gd name="T6" fmla="*/ 28 w 58"/>
                  <a:gd name="T7" fmla="*/ 19 h 34"/>
                  <a:gd name="T8" fmla="*/ 16 w 58"/>
                  <a:gd name="T9" fmla="*/ 14 h 34"/>
                  <a:gd name="T10" fmla="*/ 12 w 58"/>
                  <a:gd name="T11" fmla="*/ 13 h 34"/>
                  <a:gd name="T12" fmla="*/ 2 w 58"/>
                  <a:gd name="T13" fmla="*/ 10 h 34"/>
                  <a:gd name="T14" fmla="*/ 0 w 58"/>
                  <a:gd name="T15" fmla="*/ 8 h 34"/>
                  <a:gd name="T16" fmla="*/ 0 w 58"/>
                  <a:gd name="T17" fmla="*/ 2 h 34"/>
                  <a:gd name="T18" fmla="*/ 1 w 58"/>
                  <a:gd name="T19" fmla="*/ 0 h 34"/>
                  <a:gd name="T20" fmla="*/ 3 w 58"/>
                  <a:gd name="T21" fmla="*/ 0 h 34"/>
                  <a:gd name="T22" fmla="*/ 30 w 58"/>
                  <a:gd name="T23" fmla="*/ 9 h 34"/>
                  <a:gd name="T24" fmla="*/ 57 w 58"/>
                  <a:gd name="T25" fmla="*/ 24 h 34"/>
                  <a:gd name="T26" fmla="*/ 58 w 58"/>
                  <a:gd name="T27" fmla="*/ 26 h 34"/>
                  <a:gd name="T28" fmla="*/ 58 w 58"/>
                  <a:gd name="T29" fmla="*/ 32 h 34"/>
                  <a:gd name="T30" fmla="*/ 57 w 58"/>
                  <a:gd name="T31" fmla="*/ 34 h 34"/>
                  <a:gd name="T32" fmla="*/ 56 w 58"/>
                  <a:gd name="T33" fmla="*/ 34 h 34"/>
                  <a:gd name="T34" fmla="*/ 4 w 58"/>
                  <a:gd name="T35" fmla="*/ 7 h 34"/>
                  <a:gd name="T36" fmla="*/ 13 w 58"/>
                  <a:gd name="T37" fmla="*/ 9 h 34"/>
                  <a:gd name="T38" fmla="*/ 17 w 58"/>
                  <a:gd name="T39" fmla="*/ 10 h 34"/>
                  <a:gd name="T40" fmla="*/ 30 w 58"/>
                  <a:gd name="T41" fmla="*/ 15 h 34"/>
                  <a:gd name="T42" fmla="*/ 54 w 58"/>
                  <a:gd name="T43" fmla="*/ 28 h 34"/>
                  <a:gd name="T44" fmla="*/ 54 w 58"/>
                  <a:gd name="T45" fmla="*/ 27 h 34"/>
                  <a:gd name="T46" fmla="*/ 28 w 58"/>
                  <a:gd name="T47" fmla="*/ 12 h 34"/>
                  <a:gd name="T48" fmla="*/ 4 w 58"/>
                  <a:gd name="T49" fmla="*/ 4 h 34"/>
                  <a:gd name="T50" fmla="*/ 4 w 58"/>
                  <a:gd name="T51" fmla="*/ 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8" h="34">
                    <a:moveTo>
                      <a:pt x="56" y="34"/>
                    </a:moveTo>
                    <a:cubicBezTo>
                      <a:pt x="55" y="34"/>
                      <a:pt x="55" y="34"/>
                      <a:pt x="55" y="34"/>
                    </a:cubicBezTo>
                    <a:cubicBezTo>
                      <a:pt x="54" y="34"/>
                      <a:pt x="54" y="34"/>
                      <a:pt x="54" y="34"/>
                    </a:cubicBezTo>
                    <a:cubicBezTo>
                      <a:pt x="47" y="28"/>
                      <a:pt x="38" y="23"/>
                      <a:pt x="28" y="19"/>
                    </a:cubicBezTo>
                    <a:cubicBezTo>
                      <a:pt x="24" y="17"/>
                      <a:pt x="20" y="15"/>
                      <a:pt x="16" y="14"/>
                    </a:cubicBezTo>
                    <a:cubicBezTo>
                      <a:pt x="15" y="13"/>
                      <a:pt x="14" y="13"/>
                      <a:pt x="12" y="13"/>
                    </a:cubicBezTo>
                    <a:cubicBezTo>
                      <a:pt x="9" y="12"/>
                      <a:pt x="5" y="11"/>
                      <a:pt x="2" y="10"/>
                    </a:cubicBezTo>
                    <a:cubicBezTo>
                      <a:pt x="1" y="10"/>
                      <a:pt x="0" y="9"/>
                      <a:pt x="0" y="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11" y="1"/>
                      <a:pt x="20" y="4"/>
                      <a:pt x="30" y="9"/>
                    </a:cubicBezTo>
                    <a:cubicBezTo>
                      <a:pt x="39" y="13"/>
                      <a:pt x="49" y="18"/>
                      <a:pt x="57" y="24"/>
                    </a:cubicBezTo>
                    <a:cubicBezTo>
                      <a:pt x="57" y="24"/>
                      <a:pt x="58" y="25"/>
                      <a:pt x="58" y="26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58" y="33"/>
                      <a:pt x="57" y="34"/>
                      <a:pt x="57" y="34"/>
                    </a:cubicBezTo>
                    <a:cubicBezTo>
                      <a:pt x="56" y="34"/>
                      <a:pt x="56" y="34"/>
                      <a:pt x="56" y="34"/>
                    </a:cubicBezTo>
                    <a:close/>
                    <a:moveTo>
                      <a:pt x="4" y="7"/>
                    </a:moveTo>
                    <a:cubicBezTo>
                      <a:pt x="7" y="7"/>
                      <a:pt x="10" y="8"/>
                      <a:pt x="13" y="9"/>
                    </a:cubicBezTo>
                    <a:cubicBezTo>
                      <a:pt x="15" y="9"/>
                      <a:pt x="16" y="10"/>
                      <a:pt x="17" y="10"/>
                    </a:cubicBezTo>
                    <a:cubicBezTo>
                      <a:pt x="21" y="11"/>
                      <a:pt x="26" y="13"/>
                      <a:pt x="30" y="15"/>
                    </a:cubicBezTo>
                    <a:cubicBezTo>
                      <a:pt x="38" y="19"/>
                      <a:pt x="46" y="23"/>
                      <a:pt x="54" y="28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46" y="21"/>
                      <a:pt x="37" y="16"/>
                      <a:pt x="28" y="12"/>
                    </a:cubicBezTo>
                    <a:cubicBezTo>
                      <a:pt x="20" y="9"/>
                      <a:pt x="12" y="6"/>
                      <a:pt x="4" y="4"/>
                    </a:cubicBez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62"/>
              <p:cNvSpPr>
                <a:spLocks noEditPoints="1"/>
              </p:cNvSpPr>
              <p:nvPr/>
            </p:nvSpPr>
            <p:spPr bwMode="gray">
              <a:xfrm>
                <a:off x="3588" y="2214"/>
                <a:ext cx="204" cy="97"/>
              </a:xfrm>
              <a:custGeom>
                <a:avLst/>
                <a:gdLst>
                  <a:gd name="T0" fmla="*/ 70 w 86"/>
                  <a:gd name="T1" fmla="*/ 41 h 41"/>
                  <a:gd name="T2" fmla="*/ 70 w 86"/>
                  <a:gd name="T3" fmla="*/ 41 h 41"/>
                  <a:gd name="T4" fmla="*/ 62 w 86"/>
                  <a:gd name="T5" fmla="*/ 38 h 41"/>
                  <a:gd name="T6" fmla="*/ 35 w 86"/>
                  <a:gd name="T7" fmla="*/ 23 h 41"/>
                  <a:gd name="T8" fmla="*/ 9 w 86"/>
                  <a:gd name="T9" fmla="*/ 14 h 41"/>
                  <a:gd name="T10" fmla="*/ 9 w 86"/>
                  <a:gd name="T11" fmla="*/ 14 h 41"/>
                  <a:gd name="T12" fmla="*/ 1 w 86"/>
                  <a:gd name="T13" fmla="*/ 10 h 41"/>
                  <a:gd name="T14" fmla="*/ 0 w 86"/>
                  <a:gd name="T15" fmla="*/ 9 h 41"/>
                  <a:gd name="T16" fmla="*/ 1 w 86"/>
                  <a:gd name="T17" fmla="*/ 7 h 41"/>
                  <a:gd name="T18" fmla="*/ 14 w 86"/>
                  <a:gd name="T19" fmla="*/ 1 h 41"/>
                  <a:gd name="T20" fmla="*/ 16 w 86"/>
                  <a:gd name="T21" fmla="*/ 1 h 41"/>
                  <a:gd name="T22" fmla="*/ 23 w 86"/>
                  <a:gd name="T23" fmla="*/ 4 h 41"/>
                  <a:gd name="T24" fmla="*/ 50 w 86"/>
                  <a:gd name="T25" fmla="*/ 13 h 41"/>
                  <a:gd name="T26" fmla="*/ 77 w 86"/>
                  <a:gd name="T27" fmla="*/ 28 h 41"/>
                  <a:gd name="T28" fmla="*/ 84 w 86"/>
                  <a:gd name="T29" fmla="*/ 32 h 41"/>
                  <a:gd name="T30" fmla="*/ 86 w 86"/>
                  <a:gd name="T31" fmla="*/ 33 h 41"/>
                  <a:gd name="T32" fmla="*/ 84 w 86"/>
                  <a:gd name="T33" fmla="*/ 35 h 41"/>
                  <a:gd name="T34" fmla="*/ 71 w 86"/>
                  <a:gd name="T35" fmla="*/ 41 h 41"/>
                  <a:gd name="T36" fmla="*/ 70 w 86"/>
                  <a:gd name="T37" fmla="*/ 41 h 41"/>
                  <a:gd name="T38" fmla="*/ 10 w 86"/>
                  <a:gd name="T39" fmla="*/ 10 h 41"/>
                  <a:gd name="T40" fmla="*/ 37 w 86"/>
                  <a:gd name="T41" fmla="*/ 19 h 41"/>
                  <a:gd name="T42" fmla="*/ 37 w 86"/>
                  <a:gd name="T43" fmla="*/ 19 h 41"/>
                  <a:gd name="T44" fmla="*/ 64 w 86"/>
                  <a:gd name="T45" fmla="*/ 34 h 41"/>
                  <a:gd name="T46" fmla="*/ 70 w 86"/>
                  <a:gd name="T47" fmla="*/ 37 h 41"/>
                  <a:gd name="T48" fmla="*/ 79 w 86"/>
                  <a:gd name="T49" fmla="*/ 33 h 41"/>
                  <a:gd name="T50" fmla="*/ 75 w 86"/>
                  <a:gd name="T51" fmla="*/ 32 h 41"/>
                  <a:gd name="T52" fmla="*/ 48 w 86"/>
                  <a:gd name="T53" fmla="*/ 17 h 41"/>
                  <a:gd name="T54" fmla="*/ 22 w 86"/>
                  <a:gd name="T55" fmla="*/ 8 h 41"/>
                  <a:gd name="T56" fmla="*/ 22 w 86"/>
                  <a:gd name="T57" fmla="*/ 8 h 41"/>
                  <a:gd name="T58" fmla="*/ 15 w 86"/>
                  <a:gd name="T59" fmla="*/ 5 h 41"/>
                  <a:gd name="T60" fmla="*/ 6 w 86"/>
                  <a:gd name="T61" fmla="*/ 9 h 41"/>
                  <a:gd name="T62" fmla="*/ 10 w 86"/>
                  <a:gd name="T63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6" h="41">
                    <a:moveTo>
                      <a:pt x="70" y="41"/>
                    </a:moveTo>
                    <a:cubicBezTo>
                      <a:pt x="70" y="41"/>
                      <a:pt x="70" y="41"/>
                      <a:pt x="70" y="41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53" y="32"/>
                      <a:pt x="44" y="27"/>
                      <a:pt x="35" y="23"/>
                    </a:cubicBezTo>
                    <a:cubicBezTo>
                      <a:pt x="26" y="19"/>
                      <a:pt x="17" y="16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5" y="0"/>
                      <a:pt x="16" y="1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31" y="6"/>
                      <a:pt x="41" y="9"/>
                      <a:pt x="50" y="13"/>
                    </a:cubicBezTo>
                    <a:cubicBezTo>
                      <a:pt x="60" y="17"/>
                      <a:pt x="69" y="23"/>
                      <a:pt x="77" y="28"/>
                    </a:cubicBezTo>
                    <a:cubicBezTo>
                      <a:pt x="84" y="32"/>
                      <a:pt x="84" y="32"/>
                      <a:pt x="84" y="32"/>
                    </a:cubicBezTo>
                    <a:cubicBezTo>
                      <a:pt x="85" y="32"/>
                      <a:pt x="86" y="33"/>
                      <a:pt x="86" y="33"/>
                    </a:cubicBezTo>
                    <a:cubicBezTo>
                      <a:pt x="86" y="34"/>
                      <a:pt x="85" y="35"/>
                      <a:pt x="84" y="35"/>
                    </a:cubicBezTo>
                    <a:cubicBezTo>
                      <a:pt x="71" y="41"/>
                      <a:pt x="71" y="41"/>
                      <a:pt x="71" y="41"/>
                    </a:cubicBezTo>
                    <a:cubicBezTo>
                      <a:pt x="71" y="41"/>
                      <a:pt x="71" y="41"/>
                      <a:pt x="70" y="41"/>
                    </a:cubicBezTo>
                    <a:close/>
                    <a:moveTo>
                      <a:pt x="10" y="10"/>
                    </a:moveTo>
                    <a:cubicBezTo>
                      <a:pt x="18" y="12"/>
                      <a:pt x="27" y="15"/>
                      <a:pt x="37" y="19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46" y="23"/>
                      <a:pt x="56" y="29"/>
                      <a:pt x="64" y="34"/>
                    </a:cubicBezTo>
                    <a:cubicBezTo>
                      <a:pt x="70" y="37"/>
                      <a:pt x="70" y="37"/>
                      <a:pt x="70" y="37"/>
                    </a:cubicBezTo>
                    <a:cubicBezTo>
                      <a:pt x="79" y="33"/>
                      <a:pt x="79" y="33"/>
                      <a:pt x="79" y="33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67" y="26"/>
                      <a:pt x="58" y="21"/>
                      <a:pt x="48" y="17"/>
                    </a:cubicBezTo>
                    <a:cubicBezTo>
                      <a:pt x="39" y="13"/>
                      <a:pt x="30" y="10"/>
                      <a:pt x="22" y="8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6" y="9"/>
                      <a:pt x="6" y="9"/>
                      <a:pt x="6" y="9"/>
                    </a:cubicBezTo>
                    <a:lnTo>
                      <a:pt x="1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63"/>
              <p:cNvSpPr>
                <a:spLocks noEditPoints="1"/>
              </p:cNvSpPr>
              <p:nvPr/>
            </p:nvSpPr>
            <p:spPr bwMode="gray">
              <a:xfrm>
                <a:off x="3649" y="2282"/>
                <a:ext cx="53" cy="124"/>
              </a:xfrm>
              <a:custGeom>
                <a:avLst/>
                <a:gdLst>
                  <a:gd name="T0" fmla="*/ 20 w 22"/>
                  <a:gd name="T1" fmla="*/ 52 h 52"/>
                  <a:gd name="T2" fmla="*/ 19 w 22"/>
                  <a:gd name="T3" fmla="*/ 52 h 52"/>
                  <a:gd name="T4" fmla="*/ 1 w 22"/>
                  <a:gd name="T5" fmla="*/ 44 h 52"/>
                  <a:gd name="T6" fmla="*/ 0 w 22"/>
                  <a:gd name="T7" fmla="*/ 42 h 52"/>
                  <a:gd name="T8" fmla="*/ 0 w 22"/>
                  <a:gd name="T9" fmla="*/ 2 h 52"/>
                  <a:gd name="T10" fmla="*/ 1 w 22"/>
                  <a:gd name="T11" fmla="*/ 0 h 52"/>
                  <a:gd name="T12" fmla="*/ 3 w 22"/>
                  <a:gd name="T13" fmla="*/ 0 h 52"/>
                  <a:gd name="T14" fmla="*/ 12 w 22"/>
                  <a:gd name="T15" fmla="*/ 3 h 52"/>
                  <a:gd name="T16" fmla="*/ 21 w 22"/>
                  <a:gd name="T17" fmla="*/ 8 h 52"/>
                  <a:gd name="T18" fmla="*/ 22 w 22"/>
                  <a:gd name="T19" fmla="*/ 10 h 52"/>
                  <a:gd name="T20" fmla="*/ 22 w 22"/>
                  <a:gd name="T21" fmla="*/ 50 h 52"/>
                  <a:gd name="T22" fmla="*/ 21 w 22"/>
                  <a:gd name="T23" fmla="*/ 52 h 52"/>
                  <a:gd name="T24" fmla="*/ 20 w 22"/>
                  <a:gd name="T25" fmla="*/ 52 h 52"/>
                  <a:gd name="T26" fmla="*/ 4 w 22"/>
                  <a:gd name="T27" fmla="*/ 41 h 52"/>
                  <a:gd name="T28" fmla="*/ 18 w 22"/>
                  <a:gd name="T29" fmla="*/ 47 h 52"/>
                  <a:gd name="T30" fmla="*/ 18 w 22"/>
                  <a:gd name="T31" fmla="*/ 11 h 52"/>
                  <a:gd name="T32" fmla="*/ 10 w 22"/>
                  <a:gd name="T33" fmla="*/ 6 h 52"/>
                  <a:gd name="T34" fmla="*/ 4 w 22"/>
                  <a:gd name="T35" fmla="*/ 4 h 52"/>
                  <a:gd name="T36" fmla="*/ 4 w 22"/>
                  <a:gd name="T37" fmla="*/ 4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" h="52">
                    <a:moveTo>
                      <a:pt x="20" y="52"/>
                    </a:moveTo>
                    <a:cubicBezTo>
                      <a:pt x="20" y="52"/>
                      <a:pt x="19" y="52"/>
                      <a:pt x="19" y="52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1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5" y="0"/>
                      <a:pt x="9" y="1"/>
                      <a:pt x="12" y="3"/>
                    </a:cubicBezTo>
                    <a:cubicBezTo>
                      <a:pt x="15" y="4"/>
                      <a:pt x="18" y="6"/>
                      <a:pt x="21" y="8"/>
                    </a:cubicBezTo>
                    <a:cubicBezTo>
                      <a:pt x="22" y="8"/>
                      <a:pt x="22" y="9"/>
                      <a:pt x="22" y="10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22" y="51"/>
                      <a:pt x="22" y="52"/>
                      <a:pt x="21" y="52"/>
                    </a:cubicBezTo>
                    <a:cubicBezTo>
                      <a:pt x="21" y="52"/>
                      <a:pt x="20" y="52"/>
                      <a:pt x="20" y="52"/>
                    </a:cubicBezTo>
                    <a:close/>
                    <a:moveTo>
                      <a:pt x="4" y="41"/>
                    </a:moveTo>
                    <a:cubicBezTo>
                      <a:pt x="18" y="47"/>
                      <a:pt x="18" y="47"/>
                      <a:pt x="18" y="47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6" y="9"/>
                      <a:pt x="13" y="8"/>
                      <a:pt x="10" y="6"/>
                    </a:cubicBezTo>
                    <a:cubicBezTo>
                      <a:pt x="8" y="6"/>
                      <a:pt x="6" y="5"/>
                      <a:pt x="4" y="4"/>
                    </a:cubicBezTo>
                    <a:lnTo>
                      <a:pt x="4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64"/>
              <p:cNvSpPr>
                <a:spLocks noEditPoints="1"/>
              </p:cNvSpPr>
              <p:nvPr/>
            </p:nvSpPr>
            <p:spPr bwMode="gray">
              <a:xfrm>
                <a:off x="3699" y="2304"/>
                <a:ext cx="43" cy="121"/>
              </a:xfrm>
              <a:custGeom>
                <a:avLst/>
                <a:gdLst>
                  <a:gd name="T0" fmla="*/ 16 w 18"/>
                  <a:gd name="T1" fmla="*/ 51 h 51"/>
                  <a:gd name="T2" fmla="*/ 15 w 18"/>
                  <a:gd name="T3" fmla="*/ 50 h 51"/>
                  <a:gd name="T4" fmla="*/ 1 w 18"/>
                  <a:gd name="T5" fmla="*/ 44 h 51"/>
                  <a:gd name="T6" fmla="*/ 0 w 18"/>
                  <a:gd name="T7" fmla="*/ 42 h 51"/>
                  <a:gd name="T8" fmla="*/ 0 w 18"/>
                  <a:gd name="T9" fmla="*/ 2 h 51"/>
                  <a:gd name="T10" fmla="*/ 0 w 18"/>
                  <a:gd name="T11" fmla="*/ 0 h 51"/>
                  <a:gd name="T12" fmla="*/ 2 w 18"/>
                  <a:gd name="T13" fmla="*/ 0 h 51"/>
                  <a:gd name="T14" fmla="*/ 11 w 18"/>
                  <a:gd name="T15" fmla="*/ 3 h 51"/>
                  <a:gd name="T16" fmla="*/ 16 w 18"/>
                  <a:gd name="T17" fmla="*/ 6 h 51"/>
                  <a:gd name="T18" fmla="*/ 18 w 18"/>
                  <a:gd name="T19" fmla="*/ 7 h 51"/>
                  <a:gd name="T20" fmla="*/ 18 w 18"/>
                  <a:gd name="T21" fmla="*/ 49 h 51"/>
                  <a:gd name="T22" fmla="*/ 17 w 18"/>
                  <a:gd name="T23" fmla="*/ 50 h 51"/>
                  <a:gd name="T24" fmla="*/ 16 w 18"/>
                  <a:gd name="T25" fmla="*/ 51 h 51"/>
                  <a:gd name="T26" fmla="*/ 4 w 18"/>
                  <a:gd name="T27" fmla="*/ 41 h 51"/>
                  <a:gd name="T28" fmla="*/ 14 w 18"/>
                  <a:gd name="T29" fmla="*/ 46 h 51"/>
                  <a:gd name="T30" fmla="*/ 14 w 18"/>
                  <a:gd name="T31" fmla="*/ 9 h 51"/>
                  <a:gd name="T32" fmla="*/ 10 w 18"/>
                  <a:gd name="T33" fmla="*/ 7 h 51"/>
                  <a:gd name="T34" fmla="*/ 4 w 18"/>
                  <a:gd name="T35" fmla="*/ 4 h 51"/>
                  <a:gd name="T36" fmla="*/ 4 w 18"/>
                  <a:gd name="T37" fmla="*/ 4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" h="51">
                    <a:moveTo>
                      <a:pt x="16" y="51"/>
                    </a:moveTo>
                    <a:cubicBezTo>
                      <a:pt x="15" y="51"/>
                      <a:pt x="15" y="51"/>
                      <a:pt x="15" y="50"/>
                    </a:cubicBezTo>
                    <a:cubicBezTo>
                      <a:pt x="1" y="44"/>
                      <a:pt x="1" y="44"/>
                      <a:pt x="1" y="44"/>
                    </a:cubicBezTo>
                    <a:cubicBezTo>
                      <a:pt x="0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5" y="0"/>
                      <a:pt x="8" y="2"/>
                      <a:pt x="11" y="3"/>
                    </a:cubicBezTo>
                    <a:cubicBezTo>
                      <a:pt x="13" y="4"/>
                      <a:pt x="15" y="5"/>
                      <a:pt x="16" y="6"/>
                    </a:cubicBezTo>
                    <a:cubicBezTo>
                      <a:pt x="17" y="6"/>
                      <a:pt x="18" y="7"/>
                      <a:pt x="18" y="7"/>
                    </a:cubicBezTo>
                    <a:cubicBezTo>
                      <a:pt x="18" y="49"/>
                      <a:pt x="18" y="49"/>
                      <a:pt x="18" y="49"/>
                    </a:cubicBezTo>
                    <a:cubicBezTo>
                      <a:pt x="18" y="49"/>
                      <a:pt x="17" y="50"/>
                      <a:pt x="17" y="50"/>
                    </a:cubicBezTo>
                    <a:cubicBezTo>
                      <a:pt x="16" y="51"/>
                      <a:pt x="16" y="51"/>
                      <a:pt x="16" y="51"/>
                    </a:cubicBezTo>
                    <a:close/>
                    <a:moveTo>
                      <a:pt x="4" y="41"/>
                    </a:move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2" y="8"/>
                      <a:pt x="11" y="7"/>
                      <a:pt x="10" y="7"/>
                    </a:cubicBezTo>
                    <a:cubicBezTo>
                      <a:pt x="8" y="6"/>
                      <a:pt x="6" y="5"/>
                      <a:pt x="4" y="4"/>
                    </a:cubicBezTo>
                    <a:lnTo>
                      <a:pt x="4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65"/>
              <p:cNvSpPr>
                <a:spLocks noEditPoints="1"/>
              </p:cNvSpPr>
              <p:nvPr/>
            </p:nvSpPr>
            <p:spPr bwMode="gray">
              <a:xfrm>
                <a:off x="3749" y="2287"/>
                <a:ext cx="43" cy="171"/>
              </a:xfrm>
              <a:custGeom>
                <a:avLst/>
                <a:gdLst>
                  <a:gd name="T0" fmla="*/ 2 w 18"/>
                  <a:gd name="T1" fmla="*/ 72 h 72"/>
                  <a:gd name="T2" fmla="*/ 1 w 18"/>
                  <a:gd name="T3" fmla="*/ 71 h 72"/>
                  <a:gd name="T4" fmla="*/ 0 w 18"/>
                  <a:gd name="T5" fmla="*/ 70 h 72"/>
                  <a:gd name="T6" fmla="*/ 0 w 18"/>
                  <a:gd name="T7" fmla="*/ 8 h 72"/>
                  <a:gd name="T8" fmla="*/ 2 w 18"/>
                  <a:gd name="T9" fmla="*/ 7 h 72"/>
                  <a:gd name="T10" fmla="*/ 15 w 18"/>
                  <a:gd name="T11" fmla="*/ 1 h 72"/>
                  <a:gd name="T12" fmla="*/ 17 w 18"/>
                  <a:gd name="T13" fmla="*/ 1 h 72"/>
                  <a:gd name="T14" fmla="*/ 18 w 18"/>
                  <a:gd name="T15" fmla="*/ 2 h 72"/>
                  <a:gd name="T16" fmla="*/ 18 w 18"/>
                  <a:gd name="T17" fmla="*/ 64 h 72"/>
                  <a:gd name="T18" fmla="*/ 16 w 18"/>
                  <a:gd name="T19" fmla="*/ 65 h 72"/>
                  <a:gd name="T20" fmla="*/ 3 w 18"/>
                  <a:gd name="T21" fmla="*/ 71 h 72"/>
                  <a:gd name="T22" fmla="*/ 2 w 18"/>
                  <a:gd name="T23" fmla="*/ 72 h 72"/>
                  <a:gd name="T24" fmla="*/ 4 w 18"/>
                  <a:gd name="T25" fmla="*/ 10 h 72"/>
                  <a:gd name="T26" fmla="*/ 4 w 18"/>
                  <a:gd name="T27" fmla="*/ 67 h 72"/>
                  <a:gd name="T28" fmla="*/ 14 w 18"/>
                  <a:gd name="T29" fmla="*/ 62 h 72"/>
                  <a:gd name="T30" fmla="*/ 14 w 18"/>
                  <a:gd name="T31" fmla="*/ 5 h 72"/>
                  <a:gd name="T32" fmla="*/ 4 w 18"/>
                  <a:gd name="T33" fmla="*/ 1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72">
                    <a:moveTo>
                      <a:pt x="2" y="72"/>
                    </a:moveTo>
                    <a:cubicBezTo>
                      <a:pt x="2" y="72"/>
                      <a:pt x="2" y="71"/>
                      <a:pt x="1" y="71"/>
                    </a:cubicBezTo>
                    <a:cubicBezTo>
                      <a:pt x="1" y="71"/>
                      <a:pt x="0" y="70"/>
                      <a:pt x="0" y="7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" y="7"/>
                      <a:pt x="2" y="7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6" y="0"/>
                      <a:pt x="17" y="1"/>
                    </a:cubicBezTo>
                    <a:cubicBezTo>
                      <a:pt x="17" y="1"/>
                      <a:pt x="18" y="2"/>
                      <a:pt x="18" y="2"/>
                    </a:cubicBezTo>
                    <a:cubicBezTo>
                      <a:pt x="18" y="64"/>
                      <a:pt x="18" y="64"/>
                      <a:pt x="18" y="64"/>
                    </a:cubicBezTo>
                    <a:cubicBezTo>
                      <a:pt x="18" y="64"/>
                      <a:pt x="17" y="65"/>
                      <a:pt x="16" y="65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3" y="72"/>
                      <a:pt x="3" y="72"/>
                      <a:pt x="2" y="72"/>
                    </a:cubicBezTo>
                    <a:close/>
                    <a:moveTo>
                      <a:pt x="4" y="10"/>
                    </a:moveTo>
                    <a:cubicBezTo>
                      <a:pt x="4" y="67"/>
                      <a:pt x="4" y="67"/>
                      <a:pt x="4" y="67"/>
                    </a:cubicBezTo>
                    <a:cubicBezTo>
                      <a:pt x="14" y="62"/>
                      <a:pt x="14" y="62"/>
                      <a:pt x="14" y="62"/>
                    </a:cubicBezTo>
                    <a:cubicBezTo>
                      <a:pt x="14" y="5"/>
                      <a:pt x="14" y="5"/>
                      <a:pt x="1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Freeform 66"/>
              <p:cNvSpPr>
                <a:spLocks noEditPoints="1"/>
              </p:cNvSpPr>
              <p:nvPr/>
            </p:nvSpPr>
            <p:spPr bwMode="gray">
              <a:xfrm>
                <a:off x="3588" y="2228"/>
                <a:ext cx="171" cy="230"/>
              </a:xfrm>
              <a:custGeom>
                <a:avLst/>
                <a:gdLst>
                  <a:gd name="T0" fmla="*/ 70 w 72"/>
                  <a:gd name="T1" fmla="*/ 97 h 97"/>
                  <a:gd name="T2" fmla="*/ 70 w 72"/>
                  <a:gd name="T3" fmla="*/ 96 h 97"/>
                  <a:gd name="T4" fmla="*/ 62 w 72"/>
                  <a:gd name="T5" fmla="*/ 93 h 97"/>
                  <a:gd name="T6" fmla="*/ 61 w 72"/>
                  <a:gd name="T7" fmla="*/ 91 h 97"/>
                  <a:gd name="T8" fmla="*/ 61 w 72"/>
                  <a:gd name="T9" fmla="*/ 34 h 97"/>
                  <a:gd name="T10" fmla="*/ 35 w 72"/>
                  <a:gd name="T11" fmla="*/ 19 h 97"/>
                  <a:gd name="T12" fmla="*/ 11 w 72"/>
                  <a:gd name="T13" fmla="*/ 11 h 97"/>
                  <a:gd name="T14" fmla="*/ 11 w 72"/>
                  <a:gd name="T15" fmla="*/ 67 h 97"/>
                  <a:gd name="T16" fmla="*/ 10 w 72"/>
                  <a:gd name="T17" fmla="*/ 69 h 97"/>
                  <a:gd name="T18" fmla="*/ 9 w 72"/>
                  <a:gd name="T19" fmla="*/ 69 h 97"/>
                  <a:gd name="T20" fmla="*/ 1 w 72"/>
                  <a:gd name="T21" fmla="*/ 66 h 97"/>
                  <a:gd name="T22" fmla="*/ 0 w 72"/>
                  <a:gd name="T23" fmla="*/ 64 h 97"/>
                  <a:gd name="T24" fmla="*/ 0 w 72"/>
                  <a:gd name="T25" fmla="*/ 3 h 97"/>
                  <a:gd name="T26" fmla="*/ 0 w 72"/>
                  <a:gd name="T27" fmla="*/ 1 h 97"/>
                  <a:gd name="T28" fmla="*/ 2 w 72"/>
                  <a:gd name="T29" fmla="*/ 1 h 97"/>
                  <a:gd name="T30" fmla="*/ 10 w 72"/>
                  <a:gd name="T31" fmla="*/ 4 h 97"/>
                  <a:gd name="T32" fmla="*/ 37 w 72"/>
                  <a:gd name="T33" fmla="*/ 13 h 97"/>
                  <a:gd name="T34" fmla="*/ 64 w 72"/>
                  <a:gd name="T35" fmla="*/ 28 h 97"/>
                  <a:gd name="T36" fmla="*/ 71 w 72"/>
                  <a:gd name="T37" fmla="*/ 32 h 97"/>
                  <a:gd name="T38" fmla="*/ 72 w 72"/>
                  <a:gd name="T39" fmla="*/ 33 h 97"/>
                  <a:gd name="T40" fmla="*/ 72 w 72"/>
                  <a:gd name="T41" fmla="*/ 95 h 97"/>
                  <a:gd name="T42" fmla="*/ 71 w 72"/>
                  <a:gd name="T43" fmla="*/ 96 h 97"/>
                  <a:gd name="T44" fmla="*/ 70 w 72"/>
                  <a:gd name="T45" fmla="*/ 97 h 97"/>
                  <a:gd name="T46" fmla="*/ 65 w 72"/>
                  <a:gd name="T47" fmla="*/ 90 h 97"/>
                  <a:gd name="T48" fmla="*/ 68 w 72"/>
                  <a:gd name="T49" fmla="*/ 92 h 97"/>
                  <a:gd name="T50" fmla="*/ 68 w 72"/>
                  <a:gd name="T51" fmla="*/ 35 h 97"/>
                  <a:gd name="T52" fmla="*/ 65 w 72"/>
                  <a:gd name="T53" fmla="*/ 33 h 97"/>
                  <a:gd name="T54" fmla="*/ 65 w 72"/>
                  <a:gd name="T55" fmla="*/ 90 h 97"/>
                  <a:gd name="T56" fmla="*/ 4 w 72"/>
                  <a:gd name="T57" fmla="*/ 62 h 97"/>
                  <a:gd name="T58" fmla="*/ 7 w 72"/>
                  <a:gd name="T59" fmla="*/ 64 h 97"/>
                  <a:gd name="T60" fmla="*/ 7 w 72"/>
                  <a:gd name="T61" fmla="*/ 9 h 97"/>
                  <a:gd name="T62" fmla="*/ 8 w 72"/>
                  <a:gd name="T63" fmla="*/ 7 h 97"/>
                  <a:gd name="T64" fmla="*/ 4 w 72"/>
                  <a:gd name="T65" fmla="*/ 6 h 97"/>
                  <a:gd name="T66" fmla="*/ 4 w 72"/>
                  <a:gd name="T67" fmla="*/ 62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2" h="97">
                    <a:moveTo>
                      <a:pt x="70" y="97"/>
                    </a:moveTo>
                    <a:cubicBezTo>
                      <a:pt x="70" y="97"/>
                      <a:pt x="70" y="97"/>
                      <a:pt x="70" y="96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61" y="93"/>
                      <a:pt x="61" y="92"/>
                      <a:pt x="61" y="91"/>
                    </a:cubicBezTo>
                    <a:cubicBezTo>
                      <a:pt x="61" y="34"/>
                      <a:pt x="61" y="34"/>
                      <a:pt x="61" y="34"/>
                    </a:cubicBezTo>
                    <a:cubicBezTo>
                      <a:pt x="53" y="28"/>
                      <a:pt x="44" y="23"/>
                      <a:pt x="35" y="19"/>
                    </a:cubicBezTo>
                    <a:cubicBezTo>
                      <a:pt x="27" y="16"/>
                      <a:pt x="19" y="13"/>
                      <a:pt x="11" y="1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68"/>
                      <a:pt x="11" y="68"/>
                      <a:pt x="10" y="69"/>
                    </a:cubicBezTo>
                    <a:cubicBezTo>
                      <a:pt x="10" y="69"/>
                      <a:pt x="9" y="69"/>
                      <a:pt x="9" y="69"/>
                    </a:cubicBezTo>
                    <a:cubicBezTo>
                      <a:pt x="1" y="66"/>
                      <a:pt x="1" y="66"/>
                      <a:pt x="1" y="66"/>
                    </a:cubicBezTo>
                    <a:cubicBezTo>
                      <a:pt x="0" y="65"/>
                      <a:pt x="0" y="65"/>
                      <a:pt x="0" y="6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8" y="6"/>
                      <a:pt x="27" y="9"/>
                      <a:pt x="37" y="13"/>
                    </a:cubicBezTo>
                    <a:cubicBezTo>
                      <a:pt x="46" y="17"/>
                      <a:pt x="56" y="23"/>
                      <a:pt x="64" y="28"/>
                    </a:cubicBezTo>
                    <a:cubicBezTo>
                      <a:pt x="71" y="32"/>
                      <a:pt x="71" y="32"/>
                      <a:pt x="71" y="32"/>
                    </a:cubicBezTo>
                    <a:cubicBezTo>
                      <a:pt x="72" y="32"/>
                      <a:pt x="72" y="33"/>
                      <a:pt x="72" y="33"/>
                    </a:cubicBezTo>
                    <a:cubicBezTo>
                      <a:pt x="72" y="95"/>
                      <a:pt x="72" y="95"/>
                      <a:pt x="72" y="95"/>
                    </a:cubicBezTo>
                    <a:cubicBezTo>
                      <a:pt x="72" y="95"/>
                      <a:pt x="72" y="96"/>
                      <a:pt x="71" y="96"/>
                    </a:cubicBezTo>
                    <a:cubicBezTo>
                      <a:pt x="71" y="96"/>
                      <a:pt x="71" y="97"/>
                      <a:pt x="70" y="97"/>
                    </a:cubicBezTo>
                    <a:close/>
                    <a:moveTo>
                      <a:pt x="65" y="90"/>
                    </a:moveTo>
                    <a:cubicBezTo>
                      <a:pt x="68" y="92"/>
                      <a:pt x="68" y="92"/>
                      <a:pt x="68" y="92"/>
                    </a:cubicBezTo>
                    <a:cubicBezTo>
                      <a:pt x="68" y="35"/>
                      <a:pt x="68" y="35"/>
                      <a:pt x="68" y="35"/>
                    </a:cubicBezTo>
                    <a:cubicBezTo>
                      <a:pt x="65" y="33"/>
                      <a:pt x="65" y="33"/>
                      <a:pt x="65" y="33"/>
                    </a:cubicBezTo>
                    <a:lnTo>
                      <a:pt x="65" y="90"/>
                    </a:lnTo>
                    <a:close/>
                    <a:moveTo>
                      <a:pt x="4" y="62"/>
                    </a:moveTo>
                    <a:cubicBezTo>
                      <a:pt x="7" y="64"/>
                      <a:pt x="7" y="64"/>
                      <a:pt x="7" y="64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7" y="8"/>
                      <a:pt x="8" y="7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Freeform 67"/>
              <p:cNvSpPr>
                <a:spLocks noEditPoints="1"/>
              </p:cNvSpPr>
              <p:nvPr/>
            </p:nvSpPr>
            <p:spPr bwMode="gray">
              <a:xfrm>
                <a:off x="4199" y="2244"/>
                <a:ext cx="76" cy="126"/>
              </a:xfrm>
              <a:custGeom>
                <a:avLst/>
                <a:gdLst>
                  <a:gd name="T0" fmla="*/ 2 w 32"/>
                  <a:gd name="T1" fmla="*/ 53 h 53"/>
                  <a:gd name="T2" fmla="*/ 1 w 32"/>
                  <a:gd name="T3" fmla="*/ 53 h 53"/>
                  <a:gd name="T4" fmla="*/ 0 w 32"/>
                  <a:gd name="T5" fmla="*/ 51 h 53"/>
                  <a:gd name="T6" fmla="*/ 0 w 32"/>
                  <a:gd name="T7" fmla="*/ 15 h 53"/>
                  <a:gd name="T8" fmla="*/ 1 w 32"/>
                  <a:gd name="T9" fmla="*/ 13 h 53"/>
                  <a:gd name="T10" fmla="*/ 15 w 32"/>
                  <a:gd name="T11" fmla="*/ 5 h 53"/>
                  <a:gd name="T12" fmla="*/ 29 w 32"/>
                  <a:gd name="T13" fmla="*/ 0 h 53"/>
                  <a:gd name="T14" fmla="*/ 31 w 32"/>
                  <a:gd name="T15" fmla="*/ 1 h 53"/>
                  <a:gd name="T16" fmla="*/ 32 w 32"/>
                  <a:gd name="T17" fmla="*/ 2 h 53"/>
                  <a:gd name="T18" fmla="*/ 32 w 32"/>
                  <a:gd name="T19" fmla="*/ 39 h 53"/>
                  <a:gd name="T20" fmla="*/ 30 w 32"/>
                  <a:gd name="T21" fmla="*/ 41 h 53"/>
                  <a:gd name="T22" fmla="*/ 3 w 32"/>
                  <a:gd name="T23" fmla="*/ 53 h 53"/>
                  <a:gd name="T24" fmla="*/ 2 w 32"/>
                  <a:gd name="T25" fmla="*/ 53 h 53"/>
                  <a:gd name="T26" fmla="*/ 4 w 32"/>
                  <a:gd name="T27" fmla="*/ 16 h 53"/>
                  <a:gd name="T28" fmla="*/ 4 w 32"/>
                  <a:gd name="T29" fmla="*/ 48 h 53"/>
                  <a:gd name="T30" fmla="*/ 28 w 32"/>
                  <a:gd name="T31" fmla="*/ 38 h 53"/>
                  <a:gd name="T32" fmla="*/ 28 w 32"/>
                  <a:gd name="T33" fmla="*/ 5 h 53"/>
                  <a:gd name="T34" fmla="*/ 17 w 32"/>
                  <a:gd name="T35" fmla="*/ 9 h 53"/>
                  <a:gd name="T36" fmla="*/ 4 w 32"/>
                  <a:gd name="T37" fmla="*/ 1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2" y="53"/>
                    </a:moveTo>
                    <a:cubicBezTo>
                      <a:pt x="2" y="53"/>
                      <a:pt x="1" y="53"/>
                      <a:pt x="1" y="53"/>
                    </a:cubicBezTo>
                    <a:cubicBezTo>
                      <a:pt x="0" y="53"/>
                      <a:pt x="0" y="52"/>
                      <a:pt x="0" y="5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3"/>
                      <a:pt x="1" y="13"/>
                    </a:cubicBezTo>
                    <a:cubicBezTo>
                      <a:pt x="5" y="10"/>
                      <a:pt x="10" y="7"/>
                      <a:pt x="15" y="5"/>
                    </a:cubicBezTo>
                    <a:cubicBezTo>
                      <a:pt x="20" y="3"/>
                      <a:pt x="25" y="1"/>
                      <a:pt x="29" y="0"/>
                    </a:cubicBezTo>
                    <a:cubicBezTo>
                      <a:pt x="30" y="0"/>
                      <a:pt x="30" y="0"/>
                      <a:pt x="31" y="1"/>
                    </a:cubicBezTo>
                    <a:cubicBezTo>
                      <a:pt x="31" y="1"/>
                      <a:pt x="32" y="2"/>
                      <a:pt x="32" y="2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2" y="40"/>
                      <a:pt x="31" y="40"/>
                      <a:pt x="30" y="41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2" y="53"/>
                      <a:pt x="2" y="53"/>
                    </a:cubicBezTo>
                    <a:close/>
                    <a:moveTo>
                      <a:pt x="4" y="16"/>
                    </a:moveTo>
                    <a:cubicBezTo>
                      <a:pt x="4" y="48"/>
                      <a:pt x="4" y="48"/>
                      <a:pt x="4" y="48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4" y="6"/>
                      <a:pt x="20" y="7"/>
                      <a:pt x="17" y="9"/>
                    </a:cubicBezTo>
                    <a:cubicBezTo>
                      <a:pt x="12" y="11"/>
                      <a:pt x="8" y="13"/>
                      <a:pt x="4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68"/>
              <p:cNvSpPr>
                <a:spLocks noEditPoints="1"/>
              </p:cNvSpPr>
              <p:nvPr/>
            </p:nvSpPr>
            <p:spPr bwMode="gray">
              <a:xfrm>
                <a:off x="4344" y="2175"/>
                <a:ext cx="76" cy="126"/>
              </a:xfrm>
              <a:custGeom>
                <a:avLst/>
                <a:gdLst>
                  <a:gd name="T0" fmla="*/ 2 w 32"/>
                  <a:gd name="T1" fmla="*/ 53 h 53"/>
                  <a:gd name="T2" fmla="*/ 1 w 32"/>
                  <a:gd name="T3" fmla="*/ 53 h 53"/>
                  <a:gd name="T4" fmla="*/ 0 w 32"/>
                  <a:gd name="T5" fmla="*/ 51 h 53"/>
                  <a:gd name="T6" fmla="*/ 0 w 32"/>
                  <a:gd name="T7" fmla="*/ 15 h 53"/>
                  <a:gd name="T8" fmla="*/ 1 w 32"/>
                  <a:gd name="T9" fmla="*/ 13 h 53"/>
                  <a:gd name="T10" fmla="*/ 15 w 32"/>
                  <a:gd name="T11" fmla="*/ 5 h 53"/>
                  <a:gd name="T12" fmla="*/ 29 w 32"/>
                  <a:gd name="T13" fmla="*/ 0 h 53"/>
                  <a:gd name="T14" fmla="*/ 31 w 32"/>
                  <a:gd name="T15" fmla="*/ 1 h 53"/>
                  <a:gd name="T16" fmla="*/ 32 w 32"/>
                  <a:gd name="T17" fmla="*/ 2 h 53"/>
                  <a:gd name="T18" fmla="*/ 32 w 32"/>
                  <a:gd name="T19" fmla="*/ 39 h 53"/>
                  <a:gd name="T20" fmla="*/ 31 w 32"/>
                  <a:gd name="T21" fmla="*/ 41 h 53"/>
                  <a:gd name="T22" fmla="*/ 3 w 32"/>
                  <a:gd name="T23" fmla="*/ 53 h 53"/>
                  <a:gd name="T24" fmla="*/ 2 w 32"/>
                  <a:gd name="T25" fmla="*/ 53 h 53"/>
                  <a:gd name="T26" fmla="*/ 4 w 32"/>
                  <a:gd name="T27" fmla="*/ 16 h 53"/>
                  <a:gd name="T28" fmla="*/ 4 w 32"/>
                  <a:gd name="T29" fmla="*/ 48 h 53"/>
                  <a:gd name="T30" fmla="*/ 28 w 32"/>
                  <a:gd name="T31" fmla="*/ 38 h 53"/>
                  <a:gd name="T32" fmla="*/ 28 w 32"/>
                  <a:gd name="T33" fmla="*/ 5 h 53"/>
                  <a:gd name="T34" fmla="*/ 17 w 32"/>
                  <a:gd name="T35" fmla="*/ 9 h 53"/>
                  <a:gd name="T36" fmla="*/ 4 w 32"/>
                  <a:gd name="T37" fmla="*/ 16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2" y="53"/>
                    </a:moveTo>
                    <a:cubicBezTo>
                      <a:pt x="2" y="53"/>
                      <a:pt x="2" y="53"/>
                      <a:pt x="1" y="53"/>
                    </a:cubicBezTo>
                    <a:cubicBezTo>
                      <a:pt x="1" y="53"/>
                      <a:pt x="0" y="52"/>
                      <a:pt x="0" y="51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1" y="13"/>
                      <a:pt x="1" y="13"/>
                    </a:cubicBezTo>
                    <a:cubicBezTo>
                      <a:pt x="5" y="10"/>
                      <a:pt x="10" y="7"/>
                      <a:pt x="15" y="5"/>
                    </a:cubicBezTo>
                    <a:cubicBezTo>
                      <a:pt x="20" y="3"/>
                      <a:pt x="25" y="1"/>
                      <a:pt x="29" y="0"/>
                    </a:cubicBezTo>
                    <a:cubicBezTo>
                      <a:pt x="30" y="0"/>
                      <a:pt x="31" y="0"/>
                      <a:pt x="31" y="1"/>
                    </a:cubicBezTo>
                    <a:cubicBezTo>
                      <a:pt x="32" y="1"/>
                      <a:pt x="32" y="2"/>
                      <a:pt x="32" y="2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2" y="40"/>
                      <a:pt x="31" y="40"/>
                      <a:pt x="31" y="41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2" y="53"/>
                    </a:cubicBezTo>
                    <a:close/>
                    <a:moveTo>
                      <a:pt x="4" y="16"/>
                    </a:moveTo>
                    <a:cubicBezTo>
                      <a:pt x="4" y="48"/>
                      <a:pt x="4" y="48"/>
                      <a:pt x="4" y="48"/>
                    </a:cubicBezTo>
                    <a:cubicBezTo>
                      <a:pt x="28" y="38"/>
                      <a:pt x="28" y="38"/>
                      <a:pt x="28" y="38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4" y="6"/>
                      <a:pt x="21" y="7"/>
                      <a:pt x="17" y="9"/>
                    </a:cubicBezTo>
                    <a:cubicBezTo>
                      <a:pt x="12" y="11"/>
                      <a:pt x="8" y="13"/>
                      <a:pt x="4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69"/>
              <p:cNvSpPr>
                <a:spLocks noEditPoints="1"/>
              </p:cNvSpPr>
              <p:nvPr/>
            </p:nvSpPr>
            <p:spPr bwMode="gray">
              <a:xfrm>
                <a:off x="4199" y="2444"/>
                <a:ext cx="76" cy="126"/>
              </a:xfrm>
              <a:custGeom>
                <a:avLst/>
                <a:gdLst>
                  <a:gd name="T0" fmla="*/ 2 w 32"/>
                  <a:gd name="T1" fmla="*/ 53 h 53"/>
                  <a:gd name="T2" fmla="*/ 1 w 32"/>
                  <a:gd name="T3" fmla="*/ 52 h 53"/>
                  <a:gd name="T4" fmla="*/ 0 w 32"/>
                  <a:gd name="T5" fmla="*/ 51 h 53"/>
                  <a:gd name="T6" fmla="*/ 0 w 32"/>
                  <a:gd name="T7" fmla="*/ 14 h 53"/>
                  <a:gd name="T8" fmla="*/ 1 w 32"/>
                  <a:gd name="T9" fmla="*/ 12 h 53"/>
                  <a:gd name="T10" fmla="*/ 15 w 32"/>
                  <a:gd name="T11" fmla="*/ 4 h 53"/>
                  <a:gd name="T12" fmla="*/ 29 w 32"/>
                  <a:gd name="T13" fmla="*/ 0 h 53"/>
                  <a:gd name="T14" fmla="*/ 31 w 32"/>
                  <a:gd name="T15" fmla="*/ 0 h 53"/>
                  <a:gd name="T16" fmla="*/ 32 w 32"/>
                  <a:gd name="T17" fmla="*/ 2 h 53"/>
                  <a:gd name="T18" fmla="*/ 32 w 32"/>
                  <a:gd name="T19" fmla="*/ 38 h 53"/>
                  <a:gd name="T20" fmla="*/ 30 w 32"/>
                  <a:gd name="T21" fmla="*/ 40 h 53"/>
                  <a:gd name="T22" fmla="*/ 3 w 32"/>
                  <a:gd name="T23" fmla="*/ 53 h 53"/>
                  <a:gd name="T24" fmla="*/ 2 w 32"/>
                  <a:gd name="T25" fmla="*/ 53 h 53"/>
                  <a:gd name="T26" fmla="*/ 4 w 32"/>
                  <a:gd name="T27" fmla="*/ 15 h 53"/>
                  <a:gd name="T28" fmla="*/ 4 w 32"/>
                  <a:gd name="T29" fmla="*/ 48 h 53"/>
                  <a:gd name="T30" fmla="*/ 28 w 32"/>
                  <a:gd name="T31" fmla="*/ 37 h 53"/>
                  <a:gd name="T32" fmla="*/ 28 w 32"/>
                  <a:gd name="T33" fmla="*/ 4 h 53"/>
                  <a:gd name="T34" fmla="*/ 17 w 32"/>
                  <a:gd name="T35" fmla="*/ 8 h 53"/>
                  <a:gd name="T36" fmla="*/ 4 w 32"/>
                  <a:gd name="T37" fmla="*/ 1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2" y="53"/>
                    </a:moveTo>
                    <a:cubicBezTo>
                      <a:pt x="2" y="53"/>
                      <a:pt x="1" y="53"/>
                      <a:pt x="1" y="52"/>
                    </a:cubicBezTo>
                    <a:cubicBezTo>
                      <a:pt x="0" y="52"/>
                      <a:pt x="0" y="51"/>
                      <a:pt x="0" y="51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0" y="13"/>
                      <a:pt x="1" y="12"/>
                    </a:cubicBezTo>
                    <a:cubicBezTo>
                      <a:pt x="5" y="9"/>
                      <a:pt x="10" y="7"/>
                      <a:pt x="15" y="4"/>
                    </a:cubicBezTo>
                    <a:cubicBezTo>
                      <a:pt x="20" y="2"/>
                      <a:pt x="25" y="1"/>
                      <a:pt x="29" y="0"/>
                    </a:cubicBezTo>
                    <a:cubicBezTo>
                      <a:pt x="30" y="0"/>
                      <a:pt x="30" y="0"/>
                      <a:pt x="31" y="0"/>
                    </a:cubicBezTo>
                    <a:cubicBezTo>
                      <a:pt x="31" y="0"/>
                      <a:pt x="32" y="1"/>
                      <a:pt x="32" y="2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2" y="39"/>
                      <a:pt x="31" y="40"/>
                      <a:pt x="30" y="40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2" y="53"/>
                      <a:pt x="2" y="53"/>
                    </a:cubicBezTo>
                    <a:close/>
                    <a:moveTo>
                      <a:pt x="4" y="15"/>
                    </a:moveTo>
                    <a:cubicBezTo>
                      <a:pt x="4" y="48"/>
                      <a:pt x="4" y="48"/>
                      <a:pt x="4" y="48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4" y="5"/>
                      <a:pt x="20" y="6"/>
                      <a:pt x="17" y="8"/>
                    </a:cubicBezTo>
                    <a:cubicBezTo>
                      <a:pt x="12" y="10"/>
                      <a:pt x="8" y="13"/>
                      <a:pt x="4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70"/>
              <p:cNvSpPr>
                <a:spLocks noEditPoints="1"/>
              </p:cNvSpPr>
              <p:nvPr/>
            </p:nvSpPr>
            <p:spPr bwMode="gray">
              <a:xfrm>
                <a:off x="4344" y="2375"/>
                <a:ext cx="76" cy="126"/>
              </a:xfrm>
              <a:custGeom>
                <a:avLst/>
                <a:gdLst>
                  <a:gd name="T0" fmla="*/ 2 w 32"/>
                  <a:gd name="T1" fmla="*/ 53 h 53"/>
                  <a:gd name="T2" fmla="*/ 1 w 32"/>
                  <a:gd name="T3" fmla="*/ 52 h 53"/>
                  <a:gd name="T4" fmla="*/ 0 w 32"/>
                  <a:gd name="T5" fmla="*/ 51 h 53"/>
                  <a:gd name="T6" fmla="*/ 0 w 32"/>
                  <a:gd name="T7" fmla="*/ 14 h 53"/>
                  <a:gd name="T8" fmla="*/ 1 w 32"/>
                  <a:gd name="T9" fmla="*/ 12 h 53"/>
                  <a:gd name="T10" fmla="*/ 15 w 32"/>
                  <a:gd name="T11" fmla="*/ 5 h 53"/>
                  <a:gd name="T12" fmla="*/ 29 w 32"/>
                  <a:gd name="T13" fmla="*/ 0 h 53"/>
                  <a:gd name="T14" fmla="*/ 31 w 32"/>
                  <a:gd name="T15" fmla="*/ 0 h 53"/>
                  <a:gd name="T16" fmla="*/ 32 w 32"/>
                  <a:gd name="T17" fmla="*/ 2 h 53"/>
                  <a:gd name="T18" fmla="*/ 32 w 32"/>
                  <a:gd name="T19" fmla="*/ 38 h 53"/>
                  <a:gd name="T20" fmla="*/ 31 w 32"/>
                  <a:gd name="T21" fmla="*/ 40 h 53"/>
                  <a:gd name="T22" fmla="*/ 3 w 32"/>
                  <a:gd name="T23" fmla="*/ 53 h 53"/>
                  <a:gd name="T24" fmla="*/ 2 w 32"/>
                  <a:gd name="T25" fmla="*/ 53 h 53"/>
                  <a:gd name="T26" fmla="*/ 4 w 32"/>
                  <a:gd name="T27" fmla="*/ 15 h 53"/>
                  <a:gd name="T28" fmla="*/ 4 w 32"/>
                  <a:gd name="T29" fmla="*/ 48 h 53"/>
                  <a:gd name="T30" fmla="*/ 28 w 32"/>
                  <a:gd name="T31" fmla="*/ 37 h 53"/>
                  <a:gd name="T32" fmla="*/ 28 w 32"/>
                  <a:gd name="T33" fmla="*/ 4 h 53"/>
                  <a:gd name="T34" fmla="*/ 17 w 32"/>
                  <a:gd name="T35" fmla="*/ 8 h 53"/>
                  <a:gd name="T36" fmla="*/ 4 w 32"/>
                  <a:gd name="T37" fmla="*/ 1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2" y="53"/>
                    </a:moveTo>
                    <a:cubicBezTo>
                      <a:pt x="2" y="53"/>
                      <a:pt x="2" y="53"/>
                      <a:pt x="1" y="52"/>
                    </a:cubicBezTo>
                    <a:cubicBezTo>
                      <a:pt x="1" y="52"/>
                      <a:pt x="0" y="51"/>
                      <a:pt x="0" y="51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3"/>
                      <a:pt x="1" y="12"/>
                    </a:cubicBezTo>
                    <a:cubicBezTo>
                      <a:pt x="5" y="9"/>
                      <a:pt x="10" y="7"/>
                      <a:pt x="15" y="5"/>
                    </a:cubicBezTo>
                    <a:cubicBezTo>
                      <a:pt x="20" y="2"/>
                      <a:pt x="25" y="1"/>
                      <a:pt x="29" y="0"/>
                    </a:cubicBezTo>
                    <a:cubicBezTo>
                      <a:pt x="30" y="0"/>
                      <a:pt x="31" y="0"/>
                      <a:pt x="31" y="0"/>
                    </a:cubicBezTo>
                    <a:cubicBezTo>
                      <a:pt x="32" y="1"/>
                      <a:pt x="32" y="1"/>
                      <a:pt x="32" y="2"/>
                    </a:cubicBezTo>
                    <a:cubicBezTo>
                      <a:pt x="32" y="38"/>
                      <a:pt x="32" y="38"/>
                      <a:pt x="32" y="38"/>
                    </a:cubicBezTo>
                    <a:cubicBezTo>
                      <a:pt x="32" y="39"/>
                      <a:pt x="31" y="40"/>
                      <a:pt x="31" y="40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2" y="53"/>
                    </a:cubicBezTo>
                    <a:close/>
                    <a:moveTo>
                      <a:pt x="4" y="15"/>
                    </a:moveTo>
                    <a:cubicBezTo>
                      <a:pt x="4" y="48"/>
                      <a:pt x="4" y="48"/>
                      <a:pt x="4" y="48"/>
                    </a:cubicBezTo>
                    <a:cubicBezTo>
                      <a:pt x="28" y="37"/>
                      <a:pt x="28" y="37"/>
                      <a:pt x="28" y="37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4" y="5"/>
                      <a:pt x="21" y="6"/>
                      <a:pt x="17" y="8"/>
                    </a:cubicBezTo>
                    <a:cubicBezTo>
                      <a:pt x="12" y="10"/>
                      <a:pt x="8" y="13"/>
                      <a:pt x="4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71"/>
              <p:cNvSpPr>
                <a:spLocks noEditPoints="1"/>
              </p:cNvSpPr>
              <p:nvPr/>
            </p:nvSpPr>
            <p:spPr bwMode="gray">
              <a:xfrm>
                <a:off x="3424" y="1888"/>
                <a:ext cx="551" cy="252"/>
              </a:xfrm>
              <a:custGeom>
                <a:avLst/>
                <a:gdLst>
                  <a:gd name="T0" fmla="*/ 227 w 232"/>
                  <a:gd name="T1" fmla="*/ 106 h 106"/>
                  <a:gd name="T2" fmla="*/ 226 w 232"/>
                  <a:gd name="T3" fmla="*/ 106 h 106"/>
                  <a:gd name="T4" fmla="*/ 179 w 232"/>
                  <a:gd name="T5" fmla="*/ 91 h 106"/>
                  <a:gd name="T6" fmla="*/ 119 w 232"/>
                  <a:gd name="T7" fmla="*/ 71 h 106"/>
                  <a:gd name="T8" fmla="*/ 60 w 232"/>
                  <a:gd name="T9" fmla="*/ 37 h 106"/>
                  <a:gd name="T10" fmla="*/ 2 w 232"/>
                  <a:gd name="T11" fmla="*/ 6 h 106"/>
                  <a:gd name="T12" fmla="*/ 0 w 232"/>
                  <a:gd name="T13" fmla="*/ 4 h 106"/>
                  <a:gd name="T14" fmla="*/ 0 w 232"/>
                  <a:gd name="T15" fmla="*/ 2 h 106"/>
                  <a:gd name="T16" fmla="*/ 1 w 232"/>
                  <a:gd name="T17" fmla="*/ 0 h 106"/>
                  <a:gd name="T18" fmla="*/ 3 w 232"/>
                  <a:gd name="T19" fmla="*/ 0 h 106"/>
                  <a:gd name="T20" fmla="*/ 34 w 232"/>
                  <a:gd name="T21" fmla="*/ 4 h 106"/>
                  <a:gd name="T22" fmla="*/ 120 w 232"/>
                  <a:gd name="T23" fmla="*/ 24 h 106"/>
                  <a:gd name="T24" fmla="*/ 206 w 232"/>
                  <a:gd name="T25" fmla="*/ 81 h 106"/>
                  <a:gd name="T26" fmla="*/ 230 w 232"/>
                  <a:gd name="T27" fmla="*/ 100 h 106"/>
                  <a:gd name="T28" fmla="*/ 231 w 232"/>
                  <a:gd name="T29" fmla="*/ 101 h 106"/>
                  <a:gd name="T30" fmla="*/ 232 w 232"/>
                  <a:gd name="T31" fmla="*/ 103 h 106"/>
                  <a:gd name="T32" fmla="*/ 231 w 232"/>
                  <a:gd name="T33" fmla="*/ 105 h 106"/>
                  <a:gd name="T34" fmla="*/ 228 w 232"/>
                  <a:gd name="T35" fmla="*/ 106 h 106"/>
                  <a:gd name="T36" fmla="*/ 227 w 232"/>
                  <a:gd name="T37" fmla="*/ 106 h 106"/>
                  <a:gd name="T38" fmla="*/ 14 w 232"/>
                  <a:gd name="T39" fmla="*/ 6 h 106"/>
                  <a:gd name="T40" fmla="*/ 63 w 232"/>
                  <a:gd name="T41" fmla="*/ 34 h 106"/>
                  <a:gd name="T42" fmla="*/ 120 w 232"/>
                  <a:gd name="T43" fmla="*/ 67 h 106"/>
                  <a:gd name="T44" fmla="*/ 180 w 232"/>
                  <a:gd name="T45" fmla="*/ 87 h 106"/>
                  <a:gd name="T46" fmla="*/ 225 w 232"/>
                  <a:gd name="T47" fmla="*/ 101 h 106"/>
                  <a:gd name="T48" fmla="*/ 204 w 232"/>
                  <a:gd name="T49" fmla="*/ 85 h 106"/>
                  <a:gd name="T50" fmla="*/ 119 w 232"/>
                  <a:gd name="T51" fmla="*/ 27 h 106"/>
                  <a:gd name="T52" fmla="*/ 34 w 232"/>
                  <a:gd name="T53" fmla="*/ 8 h 106"/>
                  <a:gd name="T54" fmla="*/ 14 w 232"/>
                  <a:gd name="T55" fmla="*/ 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32" h="106">
                    <a:moveTo>
                      <a:pt x="227" y="106"/>
                    </a:moveTo>
                    <a:cubicBezTo>
                      <a:pt x="226" y="106"/>
                      <a:pt x="226" y="106"/>
                      <a:pt x="226" y="106"/>
                    </a:cubicBezTo>
                    <a:cubicBezTo>
                      <a:pt x="211" y="100"/>
                      <a:pt x="196" y="96"/>
                      <a:pt x="179" y="91"/>
                    </a:cubicBezTo>
                    <a:cubicBezTo>
                      <a:pt x="160" y="86"/>
                      <a:pt x="139" y="80"/>
                      <a:pt x="119" y="71"/>
                    </a:cubicBezTo>
                    <a:cubicBezTo>
                      <a:pt x="98" y="61"/>
                      <a:pt x="79" y="49"/>
                      <a:pt x="60" y="37"/>
                    </a:cubicBezTo>
                    <a:cubicBezTo>
                      <a:pt x="39" y="24"/>
                      <a:pt x="20" y="11"/>
                      <a:pt x="2" y="6"/>
                    </a:cubicBezTo>
                    <a:cubicBezTo>
                      <a:pt x="1" y="5"/>
                      <a:pt x="0" y="5"/>
                      <a:pt x="0" y="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3" y="2"/>
                      <a:pt x="23" y="3"/>
                      <a:pt x="34" y="4"/>
                    </a:cubicBezTo>
                    <a:cubicBezTo>
                      <a:pt x="60" y="7"/>
                      <a:pt x="90" y="10"/>
                      <a:pt x="120" y="24"/>
                    </a:cubicBezTo>
                    <a:cubicBezTo>
                      <a:pt x="151" y="37"/>
                      <a:pt x="180" y="61"/>
                      <a:pt x="206" y="81"/>
                    </a:cubicBezTo>
                    <a:cubicBezTo>
                      <a:pt x="214" y="88"/>
                      <a:pt x="222" y="94"/>
                      <a:pt x="230" y="100"/>
                    </a:cubicBezTo>
                    <a:cubicBezTo>
                      <a:pt x="231" y="101"/>
                      <a:pt x="231" y="101"/>
                      <a:pt x="231" y="101"/>
                    </a:cubicBezTo>
                    <a:cubicBezTo>
                      <a:pt x="232" y="102"/>
                      <a:pt x="232" y="102"/>
                      <a:pt x="232" y="103"/>
                    </a:cubicBezTo>
                    <a:cubicBezTo>
                      <a:pt x="232" y="104"/>
                      <a:pt x="232" y="104"/>
                      <a:pt x="231" y="105"/>
                    </a:cubicBezTo>
                    <a:cubicBezTo>
                      <a:pt x="228" y="106"/>
                      <a:pt x="228" y="106"/>
                      <a:pt x="228" y="106"/>
                    </a:cubicBezTo>
                    <a:cubicBezTo>
                      <a:pt x="227" y="106"/>
                      <a:pt x="227" y="106"/>
                      <a:pt x="227" y="106"/>
                    </a:cubicBezTo>
                    <a:close/>
                    <a:moveTo>
                      <a:pt x="14" y="6"/>
                    </a:moveTo>
                    <a:cubicBezTo>
                      <a:pt x="29" y="12"/>
                      <a:pt x="45" y="23"/>
                      <a:pt x="63" y="34"/>
                    </a:cubicBezTo>
                    <a:cubicBezTo>
                      <a:pt x="81" y="46"/>
                      <a:pt x="100" y="58"/>
                      <a:pt x="120" y="67"/>
                    </a:cubicBezTo>
                    <a:cubicBezTo>
                      <a:pt x="141" y="76"/>
                      <a:pt x="161" y="82"/>
                      <a:pt x="180" y="87"/>
                    </a:cubicBezTo>
                    <a:cubicBezTo>
                      <a:pt x="196" y="92"/>
                      <a:pt x="211" y="96"/>
                      <a:pt x="225" y="101"/>
                    </a:cubicBezTo>
                    <a:cubicBezTo>
                      <a:pt x="218" y="96"/>
                      <a:pt x="211" y="91"/>
                      <a:pt x="204" y="85"/>
                    </a:cubicBezTo>
                    <a:cubicBezTo>
                      <a:pt x="178" y="64"/>
                      <a:pt x="149" y="41"/>
                      <a:pt x="119" y="27"/>
                    </a:cubicBezTo>
                    <a:cubicBezTo>
                      <a:pt x="88" y="14"/>
                      <a:pt x="59" y="11"/>
                      <a:pt x="34" y="8"/>
                    </a:cubicBezTo>
                    <a:cubicBezTo>
                      <a:pt x="27" y="7"/>
                      <a:pt x="20" y="7"/>
                      <a:pt x="1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72"/>
              <p:cNvSpPr>
                <a:spLocks noEditPoints="1"/>
              </p:cNvSpPr>
              <p:nvPr/>
            </p:nvSpPr>
            <p:spPr bwMode="gray">
              <a:xfrm>
                <a:off x="3524" y="1693"/>
                <a:ext cx="78" cy="40"/>
              </a:xfrm>
              <a:custGeom>
                <a:avLst/>
                <a:gdLst>
                  <a:gd name="T0" fmla="*/ 16 w 33"/>
                  <a:gd name="T1" fmla="*/ 17 h 17"/>
                  <a:gd name="T2" fmla="*/ 16 w 33"/>
                  <a:gd name="T3" fmla="*/ 17 h 17"/>
                  <a:gd name="T4" fmla="*/ 1 w 33"/>
                  <a:gd name="T5" fmla="*/ 11 h 17"/>
                  <a:gd name="T6" fmla="*/ 0 w 33"/>
                  <a:gd name="T7" fmla="*/ 9 h 17"/>
                  <a:gd name="T8" fmla="*/ 1 w 33"/>
                  <a:gd name="T9" fmla="*/ 7 h 17"/>
                  <a:gd name="T10" fmla="*/ 16 w 33"/>
                  <a:gd name="T11" fmla="*/ 0 h 17"/>
                  <a:gd name="T12" fmla="*/ 17 w 33"/>
                  <a:gd name="T13" fmla="*/ 0 h 17"/>
                  <a:gd name="T14" fmla="*/ 32 w 33"/>
                  <a:gd name="T15" fmla="*/ 7 h 17"/>
                  <a:gd name="T16" fmla="*/ 33 w 33"/>
                  <a:gd name="T17" fmla="*/ 9 h 17"/>
                  <a:gd name="T18" fmla="*/ 32 w 33"/>
                  <a:gd name="T19" fmla="*/ 11 h 17"/>
                  <a:gd name="T20" fmla="*/ 17 w 33"/>
                  <a:gd name="T21" fmla="*/ 17 h 17"/>
                  <a:gd name="T22" fmla="*/ 16 w 33"/>
                  <a:gd name="T23" fmla="*/ 17 h 17"/>
                  <a:gd name="T24" fmla="*/ 7 w 33"/>
                  <a:gd name="T25" fmla="*/ 9 h 17"/>
                  <a:gd name="T26" fmla="*/ 16 w 33"/>
                  <a:gd name="T27" fmla="*/ 13 h 17"/>
                  <a:gd name="T28" fmla="*/ 26 w 33"/>
                  <a:gd name="T29" fmla="*/ 9 h 17"/>
                  <a:gd name="T30" fmla="*/ 16 w 33"/>
                  <a:gd name="T31" fmla="*/ 4 h 17"/>
                  <a:gd name="T32" fmla="*/ 7 w 33"/>
                  <a:gd name="T3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" h="17">
                    <a:moveTo>
                      <a:pt x="16" y="17"/>
                    </a:moveTo>
                    <a:cubicBezTo>
                      <a:pt x="16" y="17"/>
                      <a:pt x="16" y="17"/>
                      <a:pt x="16" y="17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0"/>
                      <a:pt x="0" y="10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7" y="0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3" y="7"/>
                      <a:pt x="33" y="8"/>
                      <a:pt x="33" y="9"/>
                    </a:cubicBezTo>
                    <a:cubicBezTo>
                      <a:pt x="33" y="10"/>
                      <a:pt x="33" y="10"/>
                      <a:pt x="32" y="11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7" y="17"/>
                      <a:pt x="17" y="17"/>
                      <a:pt x="16" y="17"/>
                    </a:cubicBezTo>
                    <a:close/>
                    <a:moveTo>
                      <a:pt x="7" y="9"/>
                    </a:moveTo>
                    <a:cubicBezTo>
                      <a:pt x="16" y="13"/>
                      <a:pt x="16" y="13"/>
                      <a:pt x="16" y="13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73"/>
              <p:cNvSpPr>
                <a:spLocks noEditPoints="1"/>
              </p:cNvSpPr>
              <p:nvPr/>
            </p:nvSpPr>
            <p:spPr bwMode="gray">
              <a:xfrm>
                <a:off x="3524" y="1710"/>
                <a:ext cx="42" cy="40"/>
              </a:xfrm>
              <a:custGeom>
                <a:avLst/>
                <a:gdLst>
                  <a:gd name="T0" fmla="*/ 16 w 18"/>
                  <a:gd name="T1" fmla="*/ 17 h 17"/>
                  <a:gd name="T2" fmla="*/ 16 w 18"/>
                  <a:gd name="T3" fmla="*/ 17 h 17"/>
                  <a:gd name="T4" fmla="*/ 1 w 18"/>
                  <a:gd name="T5" fmla="*/ 11 h 17"/>
                  <a:gd name="T6" fmla="*/ 0 w 18"/>
                  <a:gd name="T7" fmla="*/ 9 h 17"/>
                  <a:gd name="T8" fmla="*/ 0 w 18"/>
                  <a:gd name="T9" fmla="*/ 2 h 17"/>
                  <a:gd name="T10" fmla="*/ 1 w 18"/>
                  <a:gd name="T11" fmla="*/ 0 h 17"/>
                  <a:gd name="T12" fmla="*/ 3 w 18"/>
                  <a:gd name="T13" fmla="*/ 0 h 17"/>
                  <a:gd name="T14" fmla="*/ 17 w 18"/>
                  <a:gd name="T15" fmla="*/ 7 h 17"/>
                  <a:gd name="T16" fmla="*/ 18 w 18"/>
                  <a:gd name="T17" fmla="*/ 8 h 17"/>
                  <a:gd name="T18" fmla="*/ 18 w 18"/>
                  <a:gd name="T19" fmla="*/ 15 h 17"/>
                  <a:gd name="T20" fmla="*/ 17 w 18"/>
                  <a:gd name="T21" fmla="*/ 17 h 17"/>
                  <a:gd name="T22" fmla="*/ 16 w 18"/>
                  <a:gd name="T23" fmla="*/ 17 h 17"/>
                  <a:gd name="T24" fmla="*/ 4 w 18"/>
                  <a:gd name="T25" fmla="*/ 7 h 17"/>
                  <a:gd name="T26" fmla="*/ 14 w 18"/>
                  <a:gd name="T27" fmla="*/ 12 h 17"/>
                  <a:gd name="T28" fmla="*/ 14 w 18"/>
                  <a:gd name="T29" fmla="*/ 10 h 17"/>
                  <a:gd name="T30" fmla="*/ 4 w 18"/>
                  <a:gd name="T31" fmla="*/ 5 h 17"/>
                  <a:gd name="T32" fmla="*/ 4 w 18"/>
                  <a:gd name="T33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7">
                    <a:moveTo>
                      <a:pt x="16" y="17"/>
                    </a:moveTo>
                    <a:cubicBezTo>
                      <a:pt x="16" y="17"/>
                      <a:pt x="16" y="17"/>
                      <a:pt x="16" y="17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7"/>
                      <a:pt x="18" y="8"/>
                      <a:pt x="18" y="8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16"/>
                      <a:pt x="18" y="17"/>
                      <a:pt x="17" y="17"/>
                    </a:cubicBezTo>
                    <a:cubicBezTo>
                      <a:pt x="17" y="17"/>
                      <a:pt x="17" y="17"/>
                      <a:pt x="16" y="17"/>
                    </a:cubicBezTo>
                    <a:close/>
                    <a:moveTo>
                      <a:pt x="4" y="7"/>
                    </a:move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74"/>
              <p:cNvSpPr>
                <a:spLocks noEditPoints="1"/>
              </p:cNvSpPr>
              <p:nvPr/>
            </p:nvSpPr>
            <p:spPr bwMode="gray">
              <a:xfrm>
                <a:off x="3557" y="1710"/>
                <a:ext cx="45" cy="40"/>
              </a:xfrm>
              <a:custGeom>
                <a:avLst/>
                <a:gdLst>
                  <a:gd name="T0" fmla="*/ 2 w 19"/>
                  <a:gd name="T1" fmla="*/ 17 h 17"/>
                  <a:gd name="T2" fmla="*/ 1 w 19"/>
                  <a:gd name="T3" fmla="*/ 17 h 17"/>
                  <a:gd name="T4" fmla="*/ 0 w 19"/>
                  <a:gd name="T5" fmla="*/ 15 h 17"/>
                  <a:gd name="T6" fmla="*/ 0 w 19"/>
                  <a:gd name="T7" fmla="*/ 8 h 17"/>
                  <a:gd name="T8" fmla="*/ 2 w 19"/>
                  <a:gd name="T9" fmla="*/ 7 h 17"/>
                  <a:gd name="T10" fmla="*/ 16 w 19"/>
                  <a:gd name="T11" fmla="*/ 0 h 17"/>
                  <a:gd name="T12" fmla="*/ 18 w 19"/>
                  <a:gd name="T13" fmla="*/ 0 h 17"/>
                  <a:gd name="T14" fmla="*/ 19 w 19"/>
                  <a:gd name="T15" fmla="*/ 2 h 17"/>
                  <a:gd name="T16" fmla="*/ 19 w 19"/>
                  <a:gd name="T17" fmla="*/ 9 h 17"/>
                  <a:gd name="T18" fmla="*/ 18 w 19"/>
                  <a:gd name="T19" fmla="*/ 11 h 17"/>
                  <a:gd name="T20" fmla="*/ 3 w 19"/>
                  <a:gd name="T21" fmla="*/ 17 h 17"/>
                  <a:gd name="T22" fmla="*/ 2 w 19"/>
                  <a:gd name="T23" fmla="*/ 17 h 17"/>
                  <a:gd name="T24" fmla="*/ 4 w 19"/>
                  <a:gd name="T25" fmla="*/ 10 h 17"/>
                  <a:gd name="T26" fmla="*/ 4 w 19"/>
                  <a:gd name="T27" fmla="*/ 12 h 17"/>
                  <a:gd name="T28" fmla="*/ 15 w 19"/>
                  <a:gd name="T29" fmla="*/ 7 h 17"/>
                  <a:gd name="T30" fmla="*/ 15 w 19"/>
                  <a:gd name="T31" fmla="*/ 5 h 17"/>
                  <a:gd name="T32" fmla="*/ 4 w 19"/>
                  <a:gd name="T33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7">
                    <a:moveTo>
                      <a:pt x="2" y="17"/>
                    </a:moveTo>
                    <a:cubicBezTo>
                      <a:pt x="2" y="17"/>
                      <a:pt x="2" y="17"/>
                      <a:pt x="1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1" y="7"/>
                      <a:pt x="2" y="7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7" y="0"/>
                      <a:pt x="17" y="0"/>
                      <a:pt x="18" y="0"/>
                    </a:cubicBezTo>
                    <a:cubicBezTo>
                      <a:pt x="19" y="1"/>
                      <a:pt x="19" y="1"/>
                      <a:pt x="19" y="2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9"/>
                      <a:pt x="19" y="10"/>
                      <a:pt x="18" y="11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7"/>
                      <a:pt x="2" y="17"/>
                    </a:cubicBezTo>
                    <a:close/>
                    <a:moveTo>
                      <a:pt x="4" y="10"/>
                    </a:moveTo>
                    <a:cubicBezTo>
                      <a:pt x="4" y="12"/>
                      <a:pt x="4" y="12"/>
                      <a:pt x="4" y="12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75"/>
              <p:cNvSpPr>
                <a:spLocks noEditPoints="1"/>
              </p:cNvSpPr>
              <p:nvPr/>
            </p:nvSpPr>
            <p:spPr bwMode="gray">
              <a:xfrm>
                <a:off x="3464" y="1722"/>
                <a:ext cx="79" cy="40"/>
              </a:xfrm>
              <a:custGeom>
                <a:avLst/>
                <a:gdLst>
                  <a:gd name="T0" fmla="*/ 16 w 33"/>
                  <a:gd name="T1" fmla="*/ 17 h 17"/>
                  <a:gd name="T2" fmla="*/ 15 w 33"/>
                  <a:gd name="T3" fmla="*/ 17 h 17"/>
                  <a:gd name="T4" fmla="*/ 1 w 33"/>
                  <a:gd name="T5" fmla="*/ 10 h 17"/>
                  <a:gd name="T6" fmla="*/ 0 w 33"/>
                  <a:gd name="T7" fmla="*/ 9 h 17"/>
                  <a:gd name="T8" fmla="*/ 1 w 33"/>
                  <a:gd name="T9" fmla="*/ 7 h 17"/>
                  <a:gd name="T10" fmla="*/ 15 w 33"/>
                  <a:gd name="T11" fmla="*/ 0 h 17"/>
                  <a:gd name="T12" fmla="*/ 17 w 33"/>
                  <a:gd name="T13" fmla="*/ 0 h 17"/>
                  <a:gd name="T14" fmla="*/ 32 w 33"/>
                  <a:gd name="T15" fmla="*/ 7 h 17"/>
                  <a:gd name="T16" fmla="*/ 33 w 33"/>
                  <a:gd name="T17" fmla="*/ 9 h 17"/>
                  <a:gd name="T18" fmla="*/ 32 w 33"/>
                  <a:gd name="T19" fmla="*/ 10 h 17"/>
                  <a:gd name="T20" fmla="*/ 17 w 33"/>
                  <a:gd name="T21" fmla="*/ 17 h 17"/>
                  <a:gd name="T22" fmla="*/ 16 w 33"/>
                  <a:gd name="T23" fmla="*/ 17 h 17"/>
                  <a:gd name="T24" fmla="*/ 7 w 33"/>
                  <a:gd name="T25" fmla="*/ 9 h 17"/>
                  <a:gd name="T26" fmla="*/ 16 w 33"/>
                  <a:gd name="T27" fmla="*/ 13 h 17"/>
                  <a:gd name="T28" fmla="*/ 26 w 33"/>
                  <a:gd name="T29" fmla="*/ 9 h 17"/>
                  <a:gd name="T30" fmla="*/ 16 w 33"/>
                  <a:gd name="T31" fmla="*/ 4 h 17"/>
                  <a:gd name="T32" fmla="*/ 7 w 33"/>
                  <a:gd name="T33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" h="17">
                    <a:moveTo>
                      <a:pt x="16" y="17"/>
                    </a:moveTo>
                    <a:cubicBezTo>
                      <a:pt x="16" y="17"/>
                      <a:pt x="16" y="17"/>
                      <a:pt x="15" y="17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0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0"/>
                      <a:pt x="17" y="0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2" y="7"/>
                      <a:pt x="33" y="8"/>
                      <a:pt x="33" y="9"/>
                    </a:cubicBezTo>
                    <a:cubicBezTo>
                      <a:pt x="33" y="9"/>
                      <a:pt x="32" y="10"/>
                      <a:pt x="32" y="10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7" y="17"/>
                      <a:pt x="17" y="17"/>
                      <a:pt x="16" y="17"/>
                    </a:cubicBezTo>
                    <a:close/>
                    <a:moveTo>
                      <a:pt x="7" y="9"/>
                    </a:moveTo>
                    <a:cubicBezTo>
                      <a:pt x="16" y="13"/>
                      <a:pt x="16" y="13"/>
                      <a:pt x="16" y="13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16" y="4"/>
                      <a:pt x="16" y="4"/>
                      <a:pt x="16" y="4"/>
                    </a:cubicBezTo>
                    <a:lnTo>
                      <a:pt x="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76"/>
              <p:cNvSpPr>
                <a:spLocks noEditPoints="1"/>
              </p:cNvSpPr>
              <p:nvPr/>
            </p:nvSpPr>
            <p:spPr bwMode="gray">
              <a:xfrm>
                <a:off x="3464" y="1736"/>
                <a:ext cx="43" cy="43"/>
              </a:xfrm>
              <a:custGeom>
                <a:avLst/>
                <a:gdLst>
                  <a:gd name="T0" fmla="*/ 16 w 18"/>
                  <a:gd name="T1" fmla="*/ 18 h 18"/>
                  <a:gd name="T2" fmla="*/ 15 w 18"/>
                  <a:gd name="T3" fmla="*/ 18 h 18"/>
                  <a:gd name="T4" fmla="*/ 1 w 18"/>
                  <a:gd name="T5" fmla="*/ 11 h 18"/>
                  <a:gd name="T6" fmla="*/ 0 w 18"/>
                  <a:gd name="T7" fmla="*/ 9 h 18"/>
                  <a:gd name="T8" fmla="*/ 0 w 18"/>
                  <a:gd name="T9" fmla="*/ 3 h 18"/>
                  <a:gd name="T10" fmla="*/ 1 w 18"/>
                  <a:gd name="T11" fmla="*/ 1 h 18"/>
                  <a:gd name="T12" fmla="*/ 3 w 18"/>
                  <a:gd name="T13" fmla="*/ 1 h 18"/>
                  <a:gd name="T14" fmla="*/ 17 w 18"/>
                  <a:gd name="T15" fmla="*/ 7 h 18"/>
                  <a:gd name="T16" fmla="*/ 18 w 18"/>
                  <a:gd name="T17" fmla="*/ 9 h 18"/>
                  <a:gd name="T18" fmla="*/ 18 w 18"/>
                  <a:gd name="T19" fmla="*/ 16 h 18"/>
                  <a:gd name="T20" fmla="*/ 17 w 18"/>
                  <a:gd name="T21" fmla="*/ 18 h 18"/>
                  <a:gd name="T22" fmla="*/ 16 w 18"/>
                  <a:gd name="T23" fmla="*/ 18 h 18"/>
                  <a:gd name="T24" fmla="*/ 4 w 18"/>
                  <a:gd name="T25" fmla="*/ 8 h 18"/>
                  <a:gd name="T26" fmla="*/ 14 w 18"/>
                  <a:gd name="T27" fmla="*/ 13 h 18"/>
                  <a:gd name="T28" fmla="*/ 14 w 18"/>
                  <a:gd name="T29" fmla="*/ 10 h 18"/>
                  <a:gd name="T30" fmla="*/ 4 w 18"/>
                  <a:gd name="T31" fmla="*/ 6 h 18"/>
                  <a:gd name="T32" fmla="*/ 4 w 18"/>
                  <a:gd name="T33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18">
                    <a:moveTo>
                      <a:pt x="16" y="18"/>
                    </a:moveTo>
                    <a:cubicBezTo>
                      <a:pt x="16" y="18"/>
                      <a:pt x="16" y="18"/>
                      <a:pt x="15" y="18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1"/>
                      <a:pt x="0" y="10"/>
                      <a:pt x="0" y="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1" y="1"/>
                      <a:pt x="2" y="0"/>
                      <a:pt x="3" y="1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8" y="8"/>
                      <a:pt x="18" y="8"/>
                      <a:pt x="18" y="9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7"/>
                      <a:pt x="18" y="17"/>
                      <a:pt x="17" y="18"/>
                    </a:cubicBezTo>
                    <a:cubicBezTo>
                      <a:pt x="17" y="18"/>
                      <a:pt x="17" y="18"/>
                      <a:pt x="16" y="18"/>
                    </a:cubicBezTo>
                    <a:close/>
                    <a:moveTo>
                      <a:pt x="4" y="8"/>
                    </a:move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0"/>
                      <a:pt x="14" y="10"/>
                      <a:pt x="14" y="10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77"/>
              <p:cNvSpPr>
                <a:spLocks noEditPoints="1"/>
              </p:cNvSpPr>
              <p:nvPr/>
            </p:nvSpPr>
            <p:spPr bwMode="gray">
              <a:xfrm>
                <a:off x="3497" y="1736"/>
                <a:ext cx="46" cy="43"/>
              </a:xfrm>
              <a:custGeom>
                <a:avLst/>
                <a:gdLst>
                  <a:gd name="T0" fmla="*/ 2 w 19"/>
                  <a:gd name="T1" fmla="*/ 18 h 18"/>
                  <a:gd name="T2" fmla="*/ 1 w 19"/>
                  <a:gd name="T3" fmla="*/ 18 h 18"/>
                  <a:gd name="T4" fmla="*/ 0 w 19"/>
                  <a:gd name="T5" fmla="*/ 16 h 18"/>
                  <a:gd name="T6" fmla="*/ 0 w 19"/>
                  <a:gd name="T7" fmla="*/ 9 h 18"/>
                  <a:gd name="T8" fmla="*/ 1 w 19"/>
                  <a:gd name="T9" fmla="*/ 7 h 18"/>
                  <a:gd name="T10" fmla="*/ 16 w 19"/>
                  <a:gd name="T11" fmla="*/ 1 h 18"/>
                  <a:gd name="T12" fmla="*/ 18 w 19"/>
                  <a:gd name="T13" fmla="*/ 1 h 18"/>
                  <a:gd name="T14" fmla="*/ 19 w 19"/>
                  <a:gd name="T15" fmla="*/ 3 h 18"/>
                  <a:gd name="T16" fmla="*/ 19 w 19"/>
                  <a:gd name="T17" fmla="*/ 9 h 18"/>
                  <a:gd name="T18" fmla="*/ 18 w 19"/>
                  <a:gd name="T19" fmla="*/ 11 h 18"/>
                  <a:gd name="T20" fmla="*/ 3 w 19"/>
                  <a:gd name="T21" fmla="*/ 18 h 18"/>
                  <a:gd name="T22" fmla="*/ 2 w 19"/>
                  <a:gd name="T23" fmla="*/ 18 h 18"/>
                  <a:gd name="T24" fmla="*/ 4 w 19"/>
                  <a:gd name="T25" fmla="*/ 10 h 18"/>
                  <a:gd name="T26" fmla="*/ 4 w 19"/>
                  <a:gd name="T27" fmla="*/ 13 h 18"/>
                  <a:gd name="T28" fmla="*/ 15 w 19"/>
                  <a:gd name="T29" fmla="*/ 8 h 18"/>
                  <a:gd name="T30" fmla="*/ 15 w 19"/>
                  <a:gd name="T31" fmla="*/ 6 h 18"/>
                  <a:gd name="T32" fmla="*/ 4 w 19"/>
                  <a:gd name="T33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8">
                    <a:moveTo>
                      <a:pt x="2" y="18"/>
                    </a:moveTo>
                    <a:cubicBezTo>
                      <a:pt x="2" y="18"/>
                      <a:pt x="2" y="18"/>
                      <a:pt x="1" y="18"/>
                    </a:cubicBezTo>
                    <a:cubicBezTo>
                      <a:pt x="1" y="17"/>
                      <a:pt x="0" y="17"/>
                      <a:pt x="0" y="1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1" y="8"/>
                      <a:pt x="1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7" y="0"/>
                      <a:pt x="17" y="1"/>
                      <a:pt x="18" y="1"/>
                    </a:cubicBezTo>
                    <a:cubicBezTo>
                      <a:pt x="19" y="1"/>
                      <a:pt x="19" y="2"/>
                      <a:pt x="19" y="3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10"/>
                      <a:pt x="18" y="11"/>
                      <a:pt x="18" y="1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8"/>
                      <a:pt x="3" y="18"/>
                      <a:pt x="2" y="18"/>
                    </a:cubicBezTo>
                    <a:close/>
                    <a:moveTo>
                      <a:pt x="4" y="10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6"/>
                      <a:pt x="15" y="6"/>
                      <a:pt x="15" y="6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78"/>
              <p:cNvSpPr>
                <a:spLocks noEditPoints="1"/>
              </p:cNvSpPr>
              <p:nvPr/>
            </p:nvSpPr>
            <p:spPr bwMode="gray">
              <a:xfrm>
                <a:off x="4291" y="2040"/>
                <a:ext cx="81" cy="40"/>
              </a:xfrm>
              <a:custGeom>
                <a:avLst/>
                <a:gdLst>
                  <a:gd name="T0" fmla="*/ 17 w 34"/>
                  <a:gd name="T1" fmla="*/ 17 h 17"/>
                  <a:gd name="T2" fmla="*/ 16 w 34"/>
                  <a:gd name="T3" fmla="*/ 17 h 17"/>
                  <a:gd name="T4" fmla="*/ 2 w 34"/>
                  <a:gd name="T5" fmla="*/ 10 h 17"/>
                  <a:gd name="T6" fmla="*/ 0 w 34"/>
                  <a:gd name="T7" fmla="*/ 8 h 17"/>
                  <a:gd name="T8" fmla="*/ 2 w 34"/>
                  <a:gd name="T9" fmla="*/ 7 h 17"/>
                  <a:gd name="T10" fmla="*/ 16 w 34"/>
                  <a:gd name="T11" fmla="*/ 0 h 17"/>
                  <a:gd name="T12" fmla="*/ 18 w 34"/>
                  <a:gd name="T13" fmla="*/ 0 h 17"/>
                  <a:gd name="T14" fmla="*/ 32 w 34"/>
                  <a:gd name="T15" fmla="*/ 7 h 17"/>
                  <a:gd name="T16" fmla="*/ 34 w 34"/>
                  <a:gd name="T17" fmla="*/ 8 h 17"/>
                  <a:gd name="T18" fmla="*/ 32 w 34"/>
                  <a:gd name="T19" fmla="*/ 10 h 17"/>
                  <a:gd name="T20" fmla="*/ 18 w 34"/>
                  <a:gd name="T21" fmla="*/ 17 h 17"/>
                  <a:gd name="T22" fmla="*/ 17 w 34"/>
                  <a:gd name="T23" fmla="*/ 17 h 17"/>
                  <a:gd name="T24" fmla="*/ 7 w 34"/>
                  <a:gd name="T25" fmla="*/ 8 h 17"/>
                  <a:gd name="T26" fmla="*/ 17 w 34"/>
                  <a:gd name="T27" fmla="*/ 13 h 17"/>
                  <a:gd name="T28" fmla="*/ 27 w 34"/>
                  <a:gd name="T29" fmla="*/ 8 h 17"/>
                  <a:gd name="T30" fmla="*/ 17 w 34"/>
                  <a:gd name="T31" fmla="*/ 4 h 17"/>
                  <a:gd name="T32" fmla="*/ 7 w 34"/>
                  <a:gd name="T3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17">
                    <a:moveTo>
                      <a:pt x="17" y="17"/>
                    </a:moveTo>
                    <a:cubicBezTo>
                      <a:pt x="17" y="17"/>
                      <a:pt x="16" y="17"/>
                      <a:pt x="16" y="17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0"/>
                      <a:pt x="0" y="9"/>
                      <a:pt x="0" y="8"/>
                    </a:cubicBezTo>
                    <a:cubicBezTo>
                      <a:pt x="0" y="8"/>
                      <a:pt x="1" y="7"/>
                      <a:pt x="2" y="7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7" y="0"/>
                      <a:pt x="17" y="0"/>
                      <a:pt x="18" y="0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3" y="7"/>
                      <a:pt x="34" y="8"/>
                      <a:pt x="34" y="8"/>
                    </a:cubicBezTo>
                    <a:cubicBezTo>
                      <a:pt x="34" y="9"/>
                      <a:pt x="33" y="10"/>
                      <a:pt x="32" y="10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7"/>
                      <a:pt x="17" y="17"/>
                      <a:pt x="17" y="17"/>
                    </a:cubicBezTo>
                    <a:close/>
                    <a:moveTo>
                      <a:pt x="7" y="8"/>
                    </a:moveTo>
                    <a:cubicBezTo>
                      <a:pt x="17" y="13"/>
                      <a:pt x="17" y="13"/>
                      <a:pt x="17" y="13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17" y="4"/>
                      <a:pt x="17" y="4"/>
                      <a:pt x="17" y="4"/>
                    </a:cubicBezTo>
                    <a:lnTo>
                      <a:pt x="7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79"/>
              <p:cNvSpPr>
                <a:spLocks noEditPoints="1"/>
              </p:cNvSpPr>
              <p:nvPr/>
            </p:nvSpPr>
            <p:spPr bwMode="gray">
              <a:xfrm>
                <a:off x="4291" y="2054"/>
                <a:ext cx="45" cy="43"/>
              </a:xfrm>
              <a:custGeom>
                <a:avLst/>
                <a:gdLst>
                  <a:gd name="T0" fmla="*/ 17 w 19"/>
                  <a:gd name="T1" fmla="*/ 18 h 18"/>
                  <a:gd name="T2" fmla="*/ 16 w 19"/>
                  <a:gd name="T3" fmla="*/ 18 h 18"/>
                  <a:gd name="T4" fmla="*/ 2 w 19"/>
                  <a:gd name="T5" fmla="*/ 11 h 18"/>
                  <a:gd name="T6" fmla="*/ 0 w 19"/>
                  <a:gd name="T7" fmla="*/ 9 h 18"/>
                  <a:gd name="T8" fmla="*/ 0 w 19"/>
                  <a:gd name="T9" fmla="*/ 2 h 18"/>
                  <a:gd name="T10" fmla="*/ 1 w 19"/>
                  <a:gd name="T11" fmla="*/ 1 h 18"/>
                  <a:gd name="T12" fmla="*/ 3 w 19"/>
                  <a:gd name="T13" fmla="*/ 1 h 18"/>
                  <a:gd name="T14" fmla="*/ 18 w 19"/>
                  <a:gd name="T15" fmla="*/ 7 h 18"/>
                  <a:gd name="T16" fmla="*/ 19 w 19"/>
                  <a:gd name="T17" fmla="*/ 9 h 18"/>
                  <a:gd name="T18" fmla="*/ 19 w 19"/>
                  <a:gd name="T19" fmla="*/ 16 h 18"/>
                  <a:gd name="T20" fmla="*/ 18 w 19"/>
                  <a:gd name="T21" fmla="*/ 17 h 18"/>
                  <a:gd name="T22" fmla="*/ 17 w 19"/>
                  <a:gd name="T23" fmla="*/ 18 h 18"/>
                  <a:gd name="T24" fmla="*/ 4 w 19"/>
                  <a:gd name="T25" fmla="*/ 8 h 18"/>
                  <a:gd name="T26" fmla="*/ 15 w 19"/>
                  <a:gd name="T27" fmla="*/ 13 h 18"/>
                  <a:gd name="T28" fmla="*/ 15 w 19"/>
                  <a:gd name="T29" fmla="*/ 10 h 18"/>
                  <a:gd name="T30" fmla="*/ 4 w 19"/>
                  <a:gd name="T31" fmla="*/ 5 h 18"/>
                  <a:gd name="T32" fmla="*/ 4 w 19"/>
                  <a:gd name="T33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8">
                    <a:moveTo>
                      <a:pt x="17" y="18"/>
                    </a:moveTo>
                    <a:cubicBezTo>
                      <a:pt x="17" y="18"/>
                      <a:pt x="16" y="18"/>
                      <a:pt x="16" y="18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9" y="7"/>
                      <a:pt x="19" y="8"/>
                      <a:pt x="19" y="9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9" y="16"/>
                      <a:pt x="19" y="17"/>
                      <a:pt x="18" y="17"/>
                    </a:cubicBezTo>
                    <a:cubicBezTo>
                      <a:pt x="18" y="18"/>
                      <a:pt x="17" y="18"/>
                      <a:pt x="17" y="18"/>
                    </a:cubicBezTo>
                    <a:close/>
                    <a:moveTo>
                      <a:pt x="4" y="8"/>
                    </a:moveTo>
                    <a:cubicBezTo>
                      <a:pt x="15" y="13"/>
                      <a:pt x="15" y="13"/>
                      <a:pt x="15" y="13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Freeform 80"/>
              <p:cNvSpPr>
                <a:spLocks noEditPoints="1"/>
              </p:cNvSpPr>
              <p:nvPr/>
            </p:nvSpPr>
            <p:spPr bwMode="gray">
              <a:xfrm>
                <a:off x="4327" y="2054"/>
                <a:ext cx="45" cy="43"/>
              </a:xfrm>
              <a:custGeom>
                <a:avLst/>
                <a:gdLst>
                  <a:gd name="T0" fmla="*/ 2 w 19"/>
                  <a:gd name="T1" fmla="*/ 18 h 18"/>
                  <a:gd name="T2" fmla="*/ 1 w 19"/>
                  <a:gd name="T3" fmla="*/ 17 h 18"/>
                  <a:gd name="T4" fmla="*/ 0 w 19"/>
                  <a:gd name="T5" fmla="*/ 16 h 18"/>
                  <a:gd name="T6" fmla="*/ 0 w 19"/>
                  <a:gd name="T7" fmla="*/ 9 h 18"/>
                  <a:gd name="T8" fmla="*/ 1 w 19"/>
                  <a:gd name="T9" fmla="*/ 7 h 18"/>
                  <a:gd name="T10" fmla="*/ 16 w 19"/>
                  <a:gd name="T11" fmla="*/ 1 h 18"/>
                  <a:gd name="T12" fmla="*/ 18 w 19"/>
                  <a:gd name="T13" fmla="*/ 1 h 18"/>
                  <a:gd name="T14" fmla="*/ 19 w 19"/>
                  <a:gd name="T15" fmla="*/ 2 h 18"/>
                  <a:gd name="T16" fmla="*/ 19 w 19"/>
                  <a:gd name="T17" fmla="*/ 9 h 18"/>
                  <a:gd name="T18" fmla="*/ 17 w 19"/>
                  <a:gd name="T19" fmla="*/ 11 h 18"/>
                  <a:gd name="T20" fmla="*/ 3 w 19"/>
                  <a:gd name="T21" fmla="*/ 18 h 18"/>
                  <a:gd name="T22" fmla="*/ 2 w 19"/>
                  <a:gd name="T23" fmla="*/ 18 h 18"/>
                  <a:gd name="T24" fmla="*/ 4 w 19"/>
                  <a:gd name="T25" fmla="*/ 10 h 18"/>
                  <a:gd name="T26" fmla="*/ 4 w 19"/>
                  <a:gd name="T27" fmla="*/ 13 h 18"/>
                  <a:gd name="T28" fmla="*/ 15 w 19"/>
                  <a:gd name="T29" fmla="*/ 8 h 18"/>
                  <a:gd name="T30" fmla="*/ 15 w 19"/>
                  <a:gd name="T31" fmla="*/ 5 h 18"/>
                  <a:gd name="T32" fmla="*/ 4 w 19"/>
                  <a:gd name="T33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8">
                    <a:moveTo>
                      <a:pt x="2" y="18"/>
                    </a:moveTo>
                    <a:cubicBezTo>
                      <a:pt x="2" y="18"/>
                      <a:pt x="1" y="18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0"/>
                      <a:pt x="17" y="0"/>
                      <a:pt x="18" y="1"/>
                    </a:cubicBezTo>
                    <a:cubicBezTo>
                      <a:pt x="18" y="1"/>
                      <a:pt x="19" y="2"/>
                      <a:pt x="19" y="2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10"/>
                      <a:pt x="18" y="11"/>
                      <a:pt x="17" y="1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8"/>
                      <a:pt x="2" y="18"/>
                      <a:pt x="2" y="18"/>
                    </a:cubicBezTo>
                    <a:close/>
                    <a:moveTo>
                      <a:pt x="4" y="10"/>
                    </a:moveTo>
                    <a:cubicBezTo>
                      <a:pt x="4" y="13"/>
                      <a:pt x="4" y="13"/>
                      <a:pt x="4" y="13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81"/>
              <p:cNvSpPr>
                <a:spLocks noEditPoints="1"/>
              </p:cNvSpPr>
              <p:nvPr/>
            </p:nvSpPr>
            <p:spPr bwMode="gray">
              <a:xfrm>
                <a:off x="4232" y="2066"/>
                <a:ext cx="81" cy="43"/>
              </a:xfrm>
              <a:custGeom>
                <a:avLst/>
                <a:gdLst>
                  <a:gd name="T0" fmla="*/ 17 w 34"/>
                  <a:gd name="T1" fmla="*/ 18 h 18"/>
                  <a:gd name="T2" fmla="*/ 16 w 34"/>
                  <a:gd name="T3" fmla="*/ 17 h 18"/>
                  <a:gd name="T4" fmla="*/ 2 w 34"/>
                  <a:gd name="T5" fmla="*/ 11 h 18"/>
                  <a:gd name="T6" fmla="*/ 0 w 34"/>
                  <a:gd name="T7" fmla="*/ 9 h 18"/>
                  <a:gd name="T8" fmla="*/ 2 w 34"/>
                  <a:gd name="T9" fmla="*/ 7 h 18"/>
                  <a:gd name="T10" fmla="*/ 16 w 34"/>
                  <a:gd name="T11" fmla="*/ 1 h 18"/>
                  <a:gd name="T12" fmla="*/ 18 w 34"/>
                  <a:gd name="T13" fmla="*/ 1 h 18"/>
                  <a:gd name="T14" fmla="*/ 32 w 34"/>
                  <a:gd name="T15" fmla="*/ 7 h 18"/>
                  <a:gd name="T16" fmla="*/ 34 w 34"/>
                  <a:gd name="T17" fmla="*/ 9 h 18"/>
                  <a:gd name="T18" fmla="*/ 32 w 34"/>
                  <a:gd name="T19" fmla="*/ 11 h 18"/>
                  <a:gd name="T20" fmla="*/ 18 w 34"/>
                  <a:gd name="T21" fmla="*/ 17 h 18"/>
                  <a:gd name="T22" fmla="*/ 17 w 34"/>
                  <a:gd name="T23" fmla="*/ 18 h 18"/>
                  <a:gd name="T24" fmla="*/ 7 w 34"/>
                  <a:gd name="T25" fmla="*/ 9 h 18"/>
                  <a:gd name="T26" fmla="*/ 17 w 34"/>
                  <a:gd name="T27" fmla="*/ 13 h 18"/>
                  <a:gd name="T28" fmla="*/ 27 w 34"/>
                  <a:gd name="T29" fmla="*/ 9 h 18"/>
                  <a:gd name="T30" fmla="*/ 17 w 34"/>
                  <a:gd name="T31" fmla="*/ 5 h 18"/>
                  <a:gd name="T32" fmla="*/ 7 w 34"/>
                  <a:gd name="T33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18">
                    <a:moveTo>
                      <a:pt x="17" y="18"/>
                    </a:moveTo>
                    <a:cubicBezTo>
                      <a:pt x="17" y="18"/>
                      <a:pt x="16" y="18"/>
                      <a:pt x="16" y="17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8"/>
                      <a:pt x="1" y="8"/>
                      <a:pt x="2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7" y="0"/>
                      <a:pt x="17" y="0"/>
                      <a:pt x="18" y="1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3" y="8"/>
                      <a:pt x="34" y="8"/>
                      <a:pt x="34" y="9"/>
                    </a:cubicBezTo>
                    <a:cubicBezTo>
                      <a:pt x="34" y="10"/>
                      <a:pt x="33" y="11"/>
                      <a:pt x="32" y="11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8"/>
                      <a:pt x="17" y="18"/>
                      <a:pt x="17" y="18"/>
                    </a:cubicBezTo>
                    <a:close/>
                    <a:moveTo>
                      <a:pt x="7" y="9"/>
                    </a:moveTo>
                    <a:cubicBezTo>
                      <a:pt x="17" y="13"/>
                      <a:pt x="17" y="13"/>
                      <a:pt x="17" y="13"/>
                    </a:cubicBezTo>
                    <a:cubicBezTo>
                      <a:pt x="27" y="9"/>
                      <a:pt x="27" y="9"/>
                      <a:pt x="27" y="9"/>
                    </a:cubicBezTo>
                    <a:cubicBezTo>
                      <a:pt x="17" y="5"/>
                      <a:pt x="17" y="5"/>
                      <a:pt x="17" y="5"/>
                    </a:cubicBezTo>
                    <a:lnTo>
                      <a:pt x="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82"/>
              <p:cNvSpPr>
                <a:spLocks noEditPoints="1"/>
              </p:cNvSpPr>
              <p:nvPr/>
            </p:nvSpPr>
            <p:spPr bwMode="gray">
              <a:xfrm>
                <a:off x="4232" y="2083"/>
                <a:ext cx="45" cy="43"/>
              </a:xfrm>
              <a:custGeom>
                <a:avLst/>
                <a:gdLst>
                  <a:gd name="T0" fmla="*/ 17 w 19"/>
                  <a:gd name="T1" fmla="*/ 18 h 18"/>
                  <a:gd name="T2" fmla="*/ 16 w 19"/>
                  <a:gd name="T3" fmla="*/ 17 h 18"/>
                  <a:gd name="T4" fmla="*/ 2 w 19"/>
                  <a:gd name="T5" fmla="*/ 11 h 18"/>
                  <a:gd name="T6" fmla="*/ 0 w 19"/>
                  <a:gd name="T7" fmla="*/ 9 h 18"/>
                  <a:gd name="T8" fmla="*/ 0 w 19"/>
                  <a:gd name="T9" fmla="*/ 2 h 18"/>
                  <a:gd name="T10" fmla="*/ 1 w 19"/>
                  <a:gd name="T11" fmla="*/ 0 h 18"/>
                  <a:gd name="T12" fmla="*/ 3 w 19"/>
                  <a:gd name="T13" fmla="*/ 0 h 18"/>
                  <a:gd name="T14" fmla="*/ 18 w 19"/>
                  <a:gd name="T15" fmla="*/ 7 h 18"/>
                  <a:gd name="T16" fmla="*/ 19 w 19"/>
                  <a:gd name="T17" fmla="*/ 9 h 18"/>
                  <a:gd name="T18" fmla="*/ 19 w 19"/>
                  <a:gd name="T19" fmla="*/ 16 h 18"/>
                  <a:gd name="T20" fmla="*/ 18 w 19"/>
                  <a:gd name="T21" fmla="*/ 17 h 18"/>
                  <a:gd name="T22" fmla="*/ 17 w 19"/>
                  <a:gd name="T23" fmla="*/ 18 h 18"/>
                  <a:gd name="T24" fmla="*/ 4 w 19"/>
                  <a:gd name="T25" fmla="*/ 8 h 18"/>
                  <a:gd name="T26" fmla="*/ 15 w 19"/>
                  <a:gd name="T27" fmla="*/ 12 h 18"/>
                  <a:gd name="T28" fmla="*/ 15 w 19"/>
                  <a:gd name="T29" fmla="*/ 10 h 18"/>
                  <a:gd name="T30" fmla="*/ 4 w 19"/>
                  <a:gd name="T31" fmla="*/ 5 h 18"/>
                  <a:gd name="T32" fmla="*/ 4 w 19"/>
                  <a:gd name="T33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8">
                    <a:moveTo>
                      <a:pt x="17" y="18"/>
                    </a:moveTo>
                    <a:cubicBezTo>
                      <a:pt x="17" y="18"/>
                      <a:pt x="16" y="17"/>
                      <a:pt x="16" y="17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1" y="10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8" y="7"/>
                      <a:pt x="19" y="8"/>
                      <a:pt x="19" y="9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9" y="16"/>
                      <a:pt x="19" y="17"/>
                      <a:pt x="18" y="17"/>
                    </a:cubicBezTo>
                    <a:cubicBezTo>
                      <a:pt x="18" y="17"/>
                      <a:pt x="17" y="18"/>
                      <a:pt x="17" y="18"/>
                    </a:cubicBezTo>
                    <a:close/>
                    <a:moveTo>
                      <a:pt x="4" y="8"/>
                    </a:move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83"/>
              <p:cNvSpPr>
                <a:spLocks noEditPoints="1"/>
              </p:cNvSpPr>
              <p:nvPr/>
            </p:nvSpPr>
            <p:spPr bwMode="gray">
              <a:xfrm>
                <a:off x="4267" y="2083"/>
                <a:ext cx="46" cy="43"/>
              </a:xfrm>
              <a:custGeom>
                <a:avLst/>
                <a:gdLst>
                  <a:gd name="T0" fmla="*/ 2 w 19"/>
                  <a:gd name="T1" fmla="*/ 18 h 18"/>
                  <a:gd name="T2" fmla="*/ 1 w 19"/>
                  <a:gd name="T3" fmla="*/ 17 h 18"/>
                  <a:gd name="T4" fmla="*/ 0 w 19"/>
                  <a:gd name="T5" fmla="*/ 16 h 18"/>
                  <a:gd name="T6" fmla="*/ 0 w 19"/>
                  <a:gd name="T7" fmla="*/ 9 h 18"/>
                  <a:gd name="T8" fmla="*/ 1 w 19"/>
                  <a:gd name="T9" fmla="*/ 7 h 18"/>
                  <a:gd name="T10" fmla="*/ 16 w 19"/>
                  <a:gd name="T11" fmla="*/ 0 h 18"/>
                  <a:gd name="T12" fmla="*/ 18 w 19"/>
                  <a:gd name="T13" fmla="*/ 0 h 18"/>
                  <a:gd name="T14" fmla="*/ 19 w 19"/>
                  <a:gd name="T15" fmla="*/ 2 h 18"/>
                  <a:gd name="T16" fmla="*/ 19 w 19"/>
                  <a:gd name="T17" fmla="*/ 9 h 18"/>
                  <a:gd name="T18" fmla="*/ 17 w 19"/>
                  <a:gd name="T19" fmla="*/ 11 h 18"/>
                  <a:gd name="T20" fmla="*/ 3 w 19"/>
                  <a:gd name="T21" fmla="*/ 17 h 18"/>
                  <a:gd name="T22" fmla="*/ 2 w 19"/>
                  <a:gd name="T23" fmla="*/ 18 h 18"/>
                  <a:gd name="T24" fmla="*/ 4 w 19"/>
                  <a:gd name="T25" fmla="*/ 10 h 18"/>
                  <a:gd name="T26" fmla="*/ 4 w 19"/>
                  <a:gd name="T27" fmla="*/ 12 h 18"/>
                  <a:gd name="T28" fmla="*/ 15 w 19"/>
                  <a:gd name="T29" fmla="*/ 8 h 18"/>
                  <a:gd name="T30" fmla="*/ 15 w 19"/>
                  <a:gd name="T31" fmla="*/ 5 h 18"/>
                  <a:gd name="T32" fmla="*/ 4 w 19"/>
                  <a:gd name="T33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8">
                    <a:moveTo>
                      <a:pt x="2" y="18"/>
                    </a:moveTo>
                    <a:cubicBezTo>
                      <a:pt x="2" y="18"/>
                      <a:pt x="1" y="17"/>
                      <a:pt x="1" y="17"/>
                    </a:cubicBezTo>
                    <a:cubicBezTo>
                      <a:pt x="0" y="17"/>
                      <a:pt x="0" y="16"/>
                      <a:pt x="0" y="1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8"/>
                      <a:pt x="0" y="7"/>
                      <a:pt x="1" y="7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7" y="0"/>
                      <a:pt x="18" y="0"/>
                    </a:cubicBezTo>
                    <a:cubicBezTo>
                      <a:pt x="18" y="1"/>
                      <a:pt x="19" y="1"/>
                      <a:pt x="19" y="2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10"/>
                      <a:pt x="18" y="10"/>
                      <a:pt x="17" y="11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2" y="18"/>
                      <a:pt x="2" y="18"/>
                    </a:cubicBezTo>
                    <a:close/>
                    <a:moveTo>
                      <a:pt x="4" y="10"/>
                    </a:moveTo>
                    <a:cubicBezTo>
                      <a:pt x="4" y="12"/>
                      <a:pt x="4" y="12"/>
                      <a:pt x="4" y="12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5"/>
                      <a:pt x="15" y="5"/>
                      <a:pt x="15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84"/>
              <p:cNvSpPr>
                <a:spLocks noEditPoints="1"/>
              </p:cNvSpPr>
              <p:nvPr/>
            </p:nvSpPr>
            <p:spPr bwMode="gray">
              <a:xfrm>
                <a:off x="3973" y="2114"/>
                <a:ext cx="69" cy="47"/>
              </a:xfrm>
              <a:custGeom>
                <a:avLst/>
                <a:gdLst>
                  <a:gd name="T0" fmla="*/ 13 w 29"/>
                  <a:gd name="T1" fmla="*/ 20 h 20"/>
                  <a:gd name="T2" fmla="*/ 13 w 29"/>
                  <a:gd name="T3" fmla="*/ 20 h 20"/>
                  <a:gd name="T4" fmla="*/ 2 w 29"/>
                  <a:gd name="T5" fmla="*/ 15 h 20"/>
                  <a:gd name="T6" fmla="*/ 0 w 29"/>
                  <a:gd name="T7" fmla="*/ 14 h 20"/>
                  <a:gd name="T8" fmla="*/ 2 w 29"/>
                  <a:gd name="T9" fmla="*/ 12 h 20"/>
                  <a:gd name="T10" fmla="*/ 26 w 29"/>
                  <a:gd name="T11" fmla="*/ 1 h 20"/>
                  <a:gd name="T12" fmla="*/ 28 w 29"/>
                  <a:gd name="T13" fmla="*/ 1 h 20"/>
                  <a:gd name="T14" fmla="*/ 29 w 29"/>
                  <a:gd name="T15" fmla="*/ 2 h 20"/>
                  <a:gd name="T16" fmla="*/ 29 w 29"/>
                  <a:gd name="T17" fmla="*/ 12 h 20"/>
                  <a:gd name="T18" fmla="*/ 28 w 29"/>
                  <a:gd name="T19" fmla="*/ 14 h 20"/>
                  <a:gd name="T20" fmla="*/ 14 w 29"/>
                  <a:gd name="T21" fmla="*/ 20 h 20"/>
                  <a:gd name="T22" fmla="*/ 13 w 29"/>
                  <a:gd name="T23" fmla="*/ 20 h 20"/>
                  <a:gd name="T24" fmla="*/ 7 w 29"/>
                  <a:gd name="T25" fmla="*/ 14 h 20"/>
                  <a:gd name="T26" fmla="*/ 13 w 29"/>
                  <a:gd name="T27" fmla="*/ 16 h 20"/>
                  <a:gd name="T28" fmla="*/ 25 w 29"/>
                  <a:gd name="T29" fmla="*/ 11 h 20"/>
                  <a:gd name="T30" fmla="*/ 25 w 29"/>
                  <a:gd name="T31" fmla="*/ 6 h 20"/>
                  <a:gd name="T32" fmla="*/ 7 w 29"/>
                  <a:gd name="T33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20">
                    <a:moveTo>
                      <a:pt x="13" y="20"/>
                    </a:moveTo>
                    <a:cubicBezTo>
                      <a:pt x="13" y="20"/>
                      <a:pt x="13" y="20"/>
                      <a:pt x="13" y="20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1" y="15"/>
                      <a:pt x="0" y="14"/>
                      <a:pt x="0" y="14"/>
                    </a:cubicBezTo>
                    <a:cubicBezTo>
                      <a:pt x="0" y="13"/>
                      <a:pt x="1" y="12"/>
                      <a:pt x="2" y="12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7" y="0"/>
                      <a:pt x="28" y="1"/>
                    </a:cubicBezTo>
                    <a:cubicBezTo>
                      <a:pt x="28" y="1"/>
                      <a:pt x="29" y="2"/>
                      <a:pt x="29" y="2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13"/>
                      <a:pt x="28" y="14"/>
                      <a:pt x="28" y="14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20"/>
                      <a:pt x="14" y="20"/>
                      <a:pt x="13" y="20"/>
                    </a:cubicBezTo>
                    <a:close/>
                    <a:moveTo>
                      <a:pt x="7" y="14"/>
                    </a:moveTo>
                    <a:cubicBezTo>
                      <a:pt x="13" y="16"/>
                      <a:pt x="13" y="16"/>
                      <a:pt x="13" y="16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5" y="6"/>
                      <a:pt x="25" y="6"/>
                      <a:pt x="25" y="6"/>
                    </a:cubicBezTo>
                    <a:lnTo>
                      <a:pt x="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85"/>
              <p:cNvSpPr>
                <a:spLocks noEditPoints="1"/>
              </p:cNvSpPr>
              <p:nvPr/>
            </p:nvSpPr>
            <p:spPr bwMode="gray">
              <a:xfrm>
                <a:off x="3250" y="1916"/>
                <a:ext cx="76" cy="126"/>
              </a:xfrm>
              <a:custGeom>
                <a:avLst/>
                <a:gdLst>
                  <a:gd name="T0" fmla="*/ 30 w 32"/>
                  <a:gd name="T1" fmla="*/ 53 h 53"/>
                  <a:gd name="T2" fmla="*/ 29 w 32"/>
                  <a:gd name="T3" fmla="*/ 53 h 53"/>
                  <a:gd name="T4" fmla="*/ 26 w 32"/>
                  <a:gd name="T5" fmla="*/ 52 h 53"/>
                  <a:gd name="T6" fmla="*/ 26 w 32"/>
                  <a:gd name="T7" fmla="*/ 52 h 53"/>
                  <a:gd name="T8" fmla="*/ 1 w 32"/>
                  <a:gd name="T9" fmla="*/ 41 h 53"/>
                  <a:gd name="T10" fmla="*/ 0 w 32"/>
                  <a:gd name="T11" fmla="*/ 39 h 53"/>
                  <a:gd name="T12" fmla="*/ 0 w 32"/>
                  <a:gd name="T13" fmla="*/ 2 h 53"/>
                  <a:gd name="T14" fmla="*/ 1 w 32"/>
                  <a:gd name="T15" fmla="*/ 1 h 53"/>
                  <a:gd name="T16" fmla="*/ 3 w 32"/>
                  <a:gd name="T17" fmla="*/ 1 h 53"/>
                  <a:gd name="T18" fmla="*/ 17 w 32"/>
                  <a:gd name="T19" fmla="*/ 5 h 53"/>
                  <a:gd name="T20" fmla="*/ 31 w 32"/>
                  <a:gd name="T21" fmla="*/ 13 h 53"/>
                  <a:gd name="T22" fmla="*/ 32 w 32"/>
                  <a:gd name="T23" fmla="*/ 15 h 53"/>
                  <a:gd name="T24" fmla="*/ 32 w 32"/>
                  <a:gd name="T25" fmla="*/ 51 h 53"/>
                  <a:gd name="T26" fmla="*/ 31 w 32"/>
                  <a:gd name="T27" fmla="*/ 53 h 53"/>
                  <a:gd name="T28" fmla="*/ 30 w 32"/>
                  <a:gd name="T29" fmla="*/ 53 h 53"/>
                  <a:gd name="T30" fmla="*/ 4 w 32"/>
                  <a:gd name="T31" fmla="*/ 38 h 53"/>
                  <a:gd name="T32" fmla="*/ 28 w 32"/>
                  <a:gd name="T33" fmla="*/ 48 h 53"/>
                  <a:gd name="T34" fmla="*/ 28 w 32"/>
                  <a:gd name="T35" fmla="*/ 16 h 53"/>
                  <a:gd name="T36" fmla="*/ 15 w 32"/>
                  <a:gd name="T37" fmla="*/ 9 h 53"/>
                  <a:gd name="T38" fmla="*/ 4 w 32"/>
                  <a:gd name="T39" fmla="*/ 5 h 53"/>
                  <a:gd name="T40" fmla="*/ 4 w 32"/>
                  <a:gd name="T41" fmla="*/ 3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" h="53">
                    <a:moveTo>
                      <a:pt x="30" y="53"/>
                    </a:moveTo>
                    <a:cubicBezTo>
                      <a:pt x="30" y="53"/>
                      <a:pt x="29" y="53"/>
                      <a:pt x="29" y="53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1" y="41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1" y="1"/>
                      <a:pt x="2" y="0"/>
                      <a:pt x="3" y="1"/>
                    </a:cubicBezTo>
                    <a:cubicBezTo>
                      <a:pt x="7" y="1"/>
                      <a:pt x="12" y="3"/>
                      <a:pt x="17" y="5"/>
                    </a:cubicBezTo>
                    <a:cubicBezTo>
                      <a:pt x="22" y="7"/>
                      <a:pt x="27" y="10"/>
                      <a:pt x="31" y="13"/>
                    </a:cubicBezTo>
                    <a:cubicBezTo>
                      <a:pt x="31" y="14"/>
                      <a:pt x="32" y="14"/>
                      <a:pt x="32" y="15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2" y="52"/>
                      <a:pt x="31" y="53"/>
                      <a:pt x="31" y="53"/>
                    </a:cubicBezTo>
                    <a:cubicBezTo>
                      <a:pt x="31" y="53"/>
                      <a:pt x="30" y="53"/>
                      <a:pt x="30" y="53"/>
                    </a:cubicBezTo>
                    <a:close/>
                    <a:moveTo>
                      <a:pt x="4" y="38"/>
                    </a:moveTo>
                    <a:cubicBezTo>
                      <a:pt x="28" y="48"/>
                      <a:pt x="28" y="48"/>
                      <a:pt x="28" y="48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4" y="13"/>
                      <a:pt x="20" y="11"/>
                      <a:pt x="15" y="9"/>
                    </a:cubicBezTo>
                    <a:cubicBezTo>
                      <a:pt x="11" y="7"/>
                      <a:pt x="8" y="6"/>
                      <a:pt x="4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86"/>
              <p:cNvSpPr>
                <a:spLocks noEditPoints="1"/>
              </p:cNvSpPr>
              <p:nvPr/>
            </p:nvSpPr>
            <p:spPr bwMode="gray">
              <a:xfrm>
                <a:off x="3607" y="2023"/>
                <a:ext cx="76" cy="126"/>
              </a:xfrm>
              <a:custGeom>
                <a:avLst/>
                <a:gdLst>
                  <a:gd name="T0" fmla="*/ 30 w 32"/>
                  <a:gd name="T1" fmla="*/ 53 h 53"/>
                  <a:gd name="T2" fmla="*/ 29 w 32"/>
                  <a:gd name="T3" fmla="*/ 53 h 53"/>
                  <a:gd name="T4" fmla="*/ 1 w 32"/>
                  <a:gd name="T5" fmla="*/ 40 h 53"/>
                  <a:gd name="T6" fmla="*/ 0 w 32"/>
                  <a:gd name="T7" fmla="*/ 38 h 53"/>
                  <a:gd name="T8" fmla="*/ 0 w 32"/>
                  <a:gd name="T9" fmla="*/ 2 h 53"/>
                  <a:gd name="T10" fmla="*/ 1 w 32"/>
                  <a:gd name="T11" fmla="*/ 0 h 53"/>
                  <a:gd name="T12" fmla="*/ 2 w 32"/>
                  <a:gd name="T13" fmla="*/ 0 h 53"/>
                  <a:gd name="T14" fmla="*/ 17 w 32"/>
                  <a:gd name="T15" fmla="*/ 5 h 53"/>
                  <a:gd name="T16" fmla="*/ 31 w 32"/>
                  <a:gd name="T17" fmla="*/ 13 h 53"/>
                  <a:gd name="T18" fmla="*/ 32 w 32"/>
                  <a:gd name="T19" fmla="*/ 14 h 53"/>
                  <a:gd name="T20" fmla="*/ 32 w 32"/>
                  <a:gd name="T21" fmla="*/ 51 h 53"/>
                  <a:gd name="T22" fmla="*/ 31 w 32"/>
                  <a:gd name="T23" fmla="*/ 52 h 53"/>
                  <a:gd name="T24" fmla="*/ 30 w 32"/>
                  <a:gd name="T25" fmla="*/ 53 h 53"/>
                  <a:gd name="T26" fmla="*/ 4 w 32"/>
                  <a:gd name="T27" fmla="*/ 37 h 53"/>
                  <a:gd name="T28" fmla="*/ 28 w 32"/>
                  <a:gd name="T29" fmla="*/ 48 h 53"/>
                  <a:gd name="T30" fmla="*/ 28 w 32"/>
                  <a:gd name="T31" fmla="*/ 15 h 53"/>
                  <a:gd name="T32" fmla="*/ 15 w 32"/>
                  <a:gd name="T33" fmla="*/ 8 h 53"/>
                  <a:gd name="T34" fmla="*/ 4 w 32"/>
                  <a:gd name="T35" fmla="*/ 4 h 53"/>
                  <a:gd name="T36" fmla="*/ 4 w 32"/>
                  <a:gd name="T37" fmla="*/ 3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30" y="53"/>
                    </a:moveTo>
                    <a:cubicBezTo>
                      <a:pt x="29" y="53"/>
                      <a:pt x="29" y="53"/>
                      <a:pt x="29" y="53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7" y="1"/>
                      <a:pt x="12" y="2"/>
                      <a:pt x="17" y="5"/>
                    </a:cubicBezTo>
                    <a:cubicBezTo>
                      <a:pt x="22" y="7"/>
                      <a:pt x="26" y="10"/>
                      <a:pt x="31" y="13"/>
                    </a:cubicBezTo>
                    <a:cubicBezTo>
                      <a:pt x="31" y="13"/>
                      <a:pt x="32" y="14"/>
                      <a:pt x="32" y="14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2" y="51"/>
                      <a:pt x="31" y="52"/>
                      <a:pt x="31" y="52"/>
                    </a:cubicBezTo>
                    <a:cubicBezTo>
                      <a:pt x="30" y="53"/>
                      <a:pt x="30" y="53"/>
                      <a:pt x="30" y="53"/>
                    </a:cubicBezTo>
                    <a:close/>
                    <a:moveTo>
                      <a:pt x="4" y="37"/>
                    </a:moveTo>
                    <a:cubicBezTo>
                      <a:pt x="28" y="48"/>
                      <a:pt x="28" y="48"/>
                      <a:pt x="28" y="48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4" y="13"/>
                      <a:pt x="19" y="10"/>
                      <a:pt x="15" y="8"/>
                    </a:cubicBezTo>
                    <a:cubicBezTo>
                      <a:pt x="11" y="7"/>
                      <a:pt x="7" y="5"/>
                      <a:pt x="4" y="4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87"/>
              <p:cNvSpPr>
                <a:spLocks noEditPoints="1"/>
              </p:cNvSpPr>
              <p:nvPr/>
            </p:nvSpPr>
            <p:spPr bwMode="gray">
              <a:xfrm>
                <a:off x="3737" y="2083"/>
                <a:ext cx="76" cy="126"/>
              </a:xfrm>
              <a:custGeom>
                <a:avLst/>
                <a:gdLst>
                  <a:gd name="T0" fmla="*/ 30 w 32"/>
                  <a:gd name="T1" fmla="*/ 53 h 53"/>
                  <a:gd name="T2" fmla="*/ 29 w 32"/>
                  <a:gd name="T3" fmla="*/ 52 h 53"/>
                  <a:gd name="T4" fmla="*/ 2 w 32"/>
                  <a:gd name="T5" fmla="*/ 40 h 53"/>
                  <a:gd name="T6" fmla="*/ 0 w 32"/>
                  <a:gd name="T7" fmla="*/ 38 h 53"/>
                  <a:gd name="T8" fmla="*/ 0 w 32"/>
                  <a:gd name="T9" fmla="*/ 2 h 53"/>
                  <a:gd name="T10" fmla="*/ 1 w 32"/>
                  <a:gd name="T11" fmla="*/ 0 h 53"/>
                  <a:gd name="T12" fmla="*/ 3 w 32"/>
                  <a:gd name="T13" fmla="*/ 0 h 53"/>
                  <a:gd name="T14" fmla="*/ 17 w 32"/>
                  <a:gd name="T15" fmla="*/ 4 h 53"/>
                  <a:gd name="T16" fmla="*/ 31 w 32"/>
                  <a:gd name="T17" fmla="*/ 12 h 53"/>
                  <a:gd name="T18" fmla="*/ 32 w 32"/>
                  <a:gd name="T19" fmla="*/ 14 h 53"/>
                  <a:gd name="T20" fmla="*/ 32 w 32"/>
                  <a:gd name="T21" fmla="*/ 51 h 53"/>
                  <a:gd name="T22" fmla="*/ 31 w 32"/>
                  <a:gd name="T23" fmla="*/ 52 h 53"/>
                  <a:gd name="T24" fmla="*/ 30 w 32"/>
                  <a:gd name="T25" fmla="*/ 53 h 53"/>
                  <a:gd name="T26" fmla="*/ 4 w 32"/>
                  <a:gd name="T27" fmla="*/ 37 h 53"/>
                  <a:gd name="T28" fmla="*/ 28 w 32"/>
                  <a:gd name="T29" fmla="*/ 48 h 53"/>
                  <a:gd name="T30" fmla="*/ 28 w 32"/>
                  <a:gd name="T31" fmla="*/ 15 h 53"/>
                  <a:gd name="T32" fmla="*/ 15 w 32"/>
                  <a:gd name="T33" fmla="*/ 8 h 53"/>
                  <a:gd name="T34" fmla="*/ 4 w 32"/>
                  <a:gd name="T35" fmla="*/ 4 h 53"/>
                  <a:gd name="T36" fmla="*/ 4 w 32"/>
                  <a:gd name="T37" fmla="*/ 3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30" y="53"/>
                    </a:moveTo>
                    <a:cubicBezTo>
                      <a:pt x="30" y="53"/>
                      <a:pt x="29" y="53"/>
                      <a:pt x="29" y="52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7" y="1"/>
                      <a:pt x="12" y="2"/>
                      <a:pt x="17" y="4"/>
                    </a:cubicBezTo>
                    <a:cubicBezTo>
                      <a:pt x="22" y="7"/>
                      <a:pt x="27" y="9"/>
                      <a:pt x="31" y="12"/>
                    </a:cubicBezTo>
                    <a:cubicBezTo>
                      <a:pt x="32" y="13"/>
                      <a:pt x="32" y="13"/>
                      <a:pt x="32" y="14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2" y="51"/>
                      <a:pt x="32" y="52"/>
                      <a:pt x="31" y="52"/>
                    </a:cubicBezTo>
                    <a:cubicBezTo>
                      <a:pt x="31" y="53"/>
                      <a:pt x="30" y="53"/>
                      <a:pt x="30" y="53"/>
                    </a:cubicBezTo>
                    <a:close/>
                    <a:moveTo>
                      <a:pt x="4" y="37"/>
                    </a:moveTo>
                    <a:cubicBezTo>
                      <a:pt x="28" y="48"/>
                      <a:pt x="28" y="48"/>
                      <a:pt x="28" y="48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4" y="12"/>
                      <a:pt x="20" y="10"/>
                      <a:pt x="15" y="8"/>
                    </a:cubicBezTo>
                    <a:cubicBezTo>
                      <a:pt x="11" y="6"/>
                      <a:pt x="8" y="5"/>
                      <a:pt x="4" y="4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4" name="Freeform 88"/>
              <p:cNvSpPr>
                <a:spLocks noEditPoints="1"/>
              </p:cNvSpPr>
              <p:nvPr/>
            </p:nvSpPr>
            <p:spPr bwMode="gray">
              <a:xfrm>
                <a:off x="3871" y="2140"/>
                <a:ext cx="73" cy="128"/>
              </a:xfrm>
              <a:custGeom>
                <a:avLst/>
                <a:gdLst>
                  <a:gd name="T0" fmla="*/ 29 w 31"/>
                  <a:gd name="T1" fmla="*/ 54 h 54"/>
                  <a:gd name="T2" fmla="*/ 28 w 31"/>
                  <a:gd name="T3" fmla="*/ 53 h 54"/>
                  <a:gd name="T4" fmla="*/ 1 w 31"/>
                  <a:gd name="T5" fmla="*/ 41 h 54"/>
                  <a:gd name="T6" fmla="*/ 0 w 31"/>
                  <a:gd name="T7" fmla="*/ 39 h 54"/>
                  <a:gd name="T8" fmla="*/ 0 w 31"/>
                  <a:gd name="T9" fmla="*/ 3 h 54"/>
                  <a:gd name="T10" fmla="*/ 0 w 31"/>
                  <a:gd name="T11" fmla="*/ 1 h 54"/>
                  <a:gd name="T12" fmla="*/ 2 w 31"/>
                  <a:gd name="T13" fmla="*/ 1 h 54"/>
                  <a:gd name="T14" fmla="*/ 16 w 31"/>
                  <a:gd name="T15" fmla="*/ 5 h 54"/>
                  <a:gd name="T16" fmla="*/ 30 w 31"/>
                  <a:gd name="T17" fmla="*/ 13 h 54"/>
                  <a:gd name="T18" fmla="*/ 31 w 31"/>
                  <a:gd name="T19" fmla="*/ 15 h 54"/>
                  <a:gd name="T20" fmla="*/ 31 w 31"/>
                  <a:gd name="T21" fmla="*/ 52 h 54"/>
                  <a:gd name="T22" fmla="*/ 30 w 31"/>
                  <a:gd name="T23" fmla="*/ 53 h 54"/>
                  <a:gd name="T24" fmla="*/ 29 w 31"/>
                  <a:gd name="T25" fmla="*/ 54 h 54"/>
                  <a:gd name="T26" fmla="*/ 4 w 31"/>
                  <a:gd name="T27" fmla="*/ 38 h 54"/>
                  <a:gd name="T28" fmla="*/ 27 w 31"/>
                  <a:gd name="T29" fmla="*/ 48 h 54"/>
                  <a:gd name="T30" fmla="*/ 27 w 31"/>
                  <a:gd name="T31" fmla="*/ 16 h 54"/>
                  <a:gd name="T32" fmla="*/ 15 w 31"/>
                  <a:gd name="T33" fmla="*/ 9 h 54"/>
                  <a:gd name="T34" fmla="*/ 4 w 31"/>
                  <a:gd name="T35" fmla="*/ 5 h 54"/>
                  <a:gd name="T36" fmla="*/ 4 w 31"/>
                  <a:gd name="T37" fmla="*/ 3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4">
                    <a:moveTo>
                      <a:pt x="29" y="54"/>
                    </a:moveTo>
                    <a:cubicBezTo>
                      <a:pt x="29" y="54"/>
                      <a:pt x="29" y="53"/>
                      <a:pt x="28" y="53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1"/>
                      <a:pt x="0" y="40"/>
                      <a:pt x="0" y="3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1"/>
                      <a:pt x="1" y="0"/>
                      <a:pt x="2" y="1"/>
                    </a:cubicBezTo>
                    <a:cubicBezTo>
                      <a:pt x="6" y="1"/>
                      <a:pt x="11" y="3"/>
                      <a:pt x="16" y="5"/>
                    </a:cubicBezTo>
                    <a:cubicBezTo>
                      <a:pt x="21" y="8"/>
                      <a:pt x="26" y="10"/>
                      <a:pt x="30" y="13"/>
                    </a:cubicBezTo>
                    <a:cubicBezTo>
                      <a:pt x="31" y="14"/>
                      <a:pt x="31" y="14"/>
                      <a:pt x="31" y="15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1" y="52"/>
                      <a:pt x="31" y="53"/>
                      <a:pt x="30" y="53"/>
                    </a:cubicBezTo>
                    <a:cubicBezTo>
                      <a:pt x="30" y="53"/>
                      <a:pt x="30" y="54"/>
                      <a:pt x="29" y="54"/>
                    </a:cubicBezTo>
                    <a:close/>
                    <a:moveTo>
                      <a:pt x="4" y="38"/>
                    </a:move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3" y="13"/>
                      <a:pt x="19" y="11"/>
                      <a:pt x="15" y="9"/>
                    </a:cubicBezTo>
                    <a:cubicBezTo>
                      <a:pt x="11" y="7"/>
                      <a:pt x="7" y="6"/>
                      <a:pt x="4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5" name="Freeform 89"/>
              <p:cNvSpPr>
                <a:spLocks noEditPoints="1"/>
              </p:cNvSpPr>
              <p:nvPr/>
            </p:nvSpPr>
            <p:spPr bwMode="gray">
              <a:xfrm>
                <a:off x="3250" y="2121"/>
                <a:ext cx="76" cy="126"/>
              </a:xfrm>
              <a:custGeom>
                <a:avLst/>
                <a:gdLst>
                  <a:gd name="T0" fmla="*/ 30 w 32"/>
                  <a:gd name="T1" fmla="*/ 53 h 53"/>
                  <a:gd name="T2" fmla="*/ 29 w 32"/>
                  <a:gd name="T3" fmla="*/ 53 h 53"/>
                  <a:gd name="T4" fmla="*/ 1 w 32"/>
                  <a:gd name="T5" fmla="*/ 40 h 53"/>
                  <a:gd name="T6" fmla="*/ 0 w 32"/>
                  <a:gd name="T7" fmla="*/ 38 h 53"/>
                  <a:gd name="T8" fmla="*/ 0 w 32"/>
                  <a:gd name="T9" fmla="*/ 2 h 53"/>
                  <a:gd name="T10" fmla="*/ 1 w 32"/>
                  <a:gd name="T11" fmla="*/ 0 h 53"/>
                  <a:gd name="T12" fmla="*/ 3 w 32"/>
                  <a:gd name="T13" fmla="*/ 0 h 53"/>
                  <a:gd name="T14" fmla="*/ 17 w 32"/>
                  <a:gd name="T15" fmla="*/ 5 h 53"/>
                  <a:gd name="T16" fmla="*/ 31 w 32"/>
                  <a:gd name="T17" fmla="*/ 12 h 53"/>
                  <a:gd name="T18" fmla="*/ 32 w 32"/>
                  <a:gd name="T19" fmla="*/ 14 h 53"/>
                  <a:gd name="T20" fmla="*/ 32 w 32"/>
                  <a:gd name="T21" fmla="*/ 51 h 53"/>
                  <a:gd name="T22" fmla="*/ 31 w 32"/>
                  <a:gd name="T23" fmla="*/ 52 h 53"/>
                  <a:gd name="T24" fmla="*/ 30 w 32"/>
                  <a:gd name="T25" fmla="*/ 53 h 53"/>
                  <a:gd name="T26" fmla="*/ 4 w 32"/>
                  <a:gd name="T27" fmla="*/ 37 h 53"/>
                  <a:gd name="T28" fmla="*/ 28 w 32"/>
                  <a:gd name="T29" fmla="*/ 48 h 53"/>
                  <a:gd name="T30" fmla="*/ 28 w 32"/>
                  <a:gd name="T31" fmla="*/ 15 h 53"/>
                  <a:gd name="T32" fmla="*/ 15 w 32"/>
                  <a:gd name="T33" fmla="*/ 8 h 53"/>
                  <a:gd name="T34" fmla="*/ 4 w 32"/>
                  <a:gd name="T35" fmla="*/ 4 h 53"/>
                  <a:gd name="T36" fmla="*/ 4 w 32"/>
                  <a:gd name="T37" fmla="*/ 3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30" y="53"/>
                    </a:moveTo>
                    <a:cubicBezTo>
                      <a:pt x="30" y="53"/>
                      <a:pt x="29" y="53"/>
                      <a:pt x="29" y="53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7" y="1"/>
                      <a:pt x="12" y="2"/>
                      <a:pt x="17" y="5"/>
                    </a:cubicBezTo>
                    <a:cubicBezTo>
                      <a:pt x="22" y="7"/>
                      <a:pt x="27" y="10"/>
                      <a:pt x="31" y="12"/>
                    </a:cubicBezTo>
                    <a:cubicBezTo>
                      <a:pt x="31" y="13"/>
                      <a:pt x="32" y="13"/>
                      <a:pt x="32" y="14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2" y="51"/>
                      <a:pt x="31" y="52"/>
                      <a:pt x="31" y="52"/>
                    </a:cubicBezTo>
                    <a:cubicBezTo>
                      <a:pt x="31" y="53"/>
                      <a:pt x="30" y="53"/>
                      <a:pt x="30" y="53"/>
                    </a:cubicBezTo>
                    <a:close/>
                    <a:moveTo>
                      <a:pt x="4" y="37"/>
                    </a:moveTo>
                    <a:cubicBezTo>
                      <a:pt x="28" y="48"/>
                      <a:pt x="28" y="48"/>
                      <a:pt x="28" y="48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4" y="13"/>
                      <a:pt x="20" y="10"/>
                      <a:pt x="15" y="8"/>
                    </a:cubicBezTo>
                    <a:cubicBezTo>
                      <a:pt x="11" y="6"/>
                      <a:pt x="8" y="5"/>
                      <a:pt x="4" y="4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90"/>
              <p:cNvSpPr>
                <a:spLocks noEditPoints="1"/>
              </p:cNvSpPr>
              <p:nvPr/>
            </p:nvSpPr>
            <p:spPr bwMode="gray">
              <a:xfrm>
                <a:off x="3871" y="2344"/>
                <a:ext cx="73" cy="126"/>
              </a:xfrm>
              <a:custGeom>
                <a:avLst/>
                <a:gdLst>
                  <a:gd name="T0" fmla="*/ 29 w 31"/>
                  <a:gd name="T1" fmla="*/ 53 h 53"/>
                  <a:gd name="T2" fmla="*/ 28 w 31"/>
                  <a:gd name="T3" fmla="*/ 53 h 53"/>
                  <a:gd name="T4" fmla="*/ 1 w 31"/>
                  <a:gd name="T5" fmla="*/ 40 h 53"/>
                  <a:gd name="T6" fmla="*/ 0 w 31"/>
                  <a:gd name="T7" fmla="*/ 38 h 53"/>
                  <a:gd name="T8" fmla="*/ 0 w 31"/>
                  <a:gd name="T9" fmla="*/ 2 h 53"/>
                  <a:gd name="T10" fmla="*/ 0 w 31"/>
                  <a:gd name="T11" fmla="*/ 0 h 53"/>
                  <a:gd name="T12" fmla="*/ 2 w 31"/>
                  <a:gd name="T13" fmla="*/ 0 h 53"/>
                  <a:gd name="T14" fmla="*/ 16 w 31"/>
                  <a:gd name="T15" fmla="*/ 5 h 53"/>
                  <a:gd name="T16" fmla="*/ 29 w 31"/>
                  <a:gd name="T17" fmla="*/ 11 h 53"/>
                  <a:gd name="T18" fmla="*/ 30 w 31"/>
                  <a:gd name="T19" fmla="*/ 13 h 53"/>
                  <a:gd name="T20" fmla="*/ 30 w 31"/>
                  <a:gd name="T21" fmla="*/ 19 h 53"/>
                  <a:gd name="T22" fmla="*/ 30 w 31"/>
                  <a:gd name="T23" fmla="*/ 20 h 53"/>
                  <a:gd name="T24" fmla="*/ 31 w 31"/>
                  <a:gd name="T25" fmla="*/ 21 h 53"/>
                  <a:gd name="T26" fmla="*/ 31 w 31"/>
                  <a:gd name="T27" fmla="*/ 51 h 53"/>
                  <a:gd name="T28" fmla="*/ 30 w 31"/>
                  <a:gd name="T29" fmla="*/ 52 h 53"/>
                  <a:gd name="T30" fmla="*/ 29 w 31"/>
                  <a:gd name="T31" fmla="*/ 53 h 53"/>
                  <a:gd name="T32" fmla="*/ 4 w 31"/>
                  <a:gd name="T33" fmla="*/ 37 h 53"/>
                  <a:gd name="T34" fmla="*/ 27 w 31"/>
                  <a:gd name="T35" fmla="*/ 48 h 53"/>
                  <a:gd name="T36" fmla="*/ 27 w 31"/>
                  <a:gd name="T37" fmla="*/ 23 h 53"/>
                  <a:gd name="T38" fmla="*/ 27 w 31"/>
                  <a:gd name="T39" fmla="*/ 23 h 53"/>
                  <a:gd name="T40" fmla="*/ 26 w 31"/>
                  <a:gd name="T41" fmla="*/ 21 h 53"/>
                  <a:gd name="T42" fmla="*/ 26 w 31"/>
                  <a:gd name="T43" fmla="*/ 14 h 53"/>
                  <a:gd name="T44" fmla="*/ 15 w 31"/>
                  <a:gd name="T45" fmla="*/ 8 h 53"/>
                  <a:gd name="T46" fmla="*/ 4 w 31"/>
                  <a:gd name="T47" fmla="*/ 4 h 53"/>
                  <a:gd name="T48" fmla="*/ 4 w 31"/>
                  <a:gd name="T49" fmla="*/ 3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1" h="53">
                    <a:moveTo>
                      <a:pt x="29" y="53"/>
                    </a:moveTo>
                    <a:cubicBezTo>
                      <a:pt x="29" y="53"/>
                      <a:pt x="29" y="53"/>
                      <a:pt x="28" y="53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0" y="40"/>
                      <a:pt x="0" y="39"/>
                      <a:pt x="0" y="3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6" y="1"/>
                      <a:pt x="11" y="2"/>
                      <a:pt x="16" y="5"/>
                    </a:cubicBezTo>
                    <a:cubicBezTo>
                      <a:pt x="21" y="7"/>
                      <a:pt x="25" y="9"/>
                      <a:pt x="29" y="11"/>
                    </a:cubicBezTo>
                    <a:cubicBezTo>
                      <a:pt x="29" y="12"/>
                      <a:pt x="30" y="12"/>
                      <a:pt x="30" y="13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1" y="20"/>
                      <a:pt x="31" y="21"/>
                      <a:pt x="31" y="21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51"/>
                      <a:pt x="31" y="52"/>
                      <a:pt x="30" y="52"/>
                    </a:cubicBezTo>
                    <a:cubicBezTo>
                      <a:pt x="30" y="53"/>
                      <a:pt x="30" y="53"/>
                      <a:pt x="29" y="53"/>
                    </a:cubicBezTo>
                    <a:close/>
                    <a:moveTo>
                      <a:pt x="4" y="37"/>
                    </a:move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7" y="23"/>
                      <a:pt x="27" y="23"/>
                      <a:pt x="27" y="23"/>
                    </a:cubicBezTo>
                    <a:cubicBezTo>
                      <a:pt x="26" y="22"/>
                      <a:pt x="26" y="21"/>
                      <a:pt x="26" y="21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2" y="12"/>
                      <a:pt x="18" y="10"/>
                      <a:pt x="15" y="8"/>
                    </a:cubicBezTo>
                    <a:cubicBezTo>
                      <a:pt x="11" y="7"/>
                      <a:pt x="7" y="5"/>
                      <a:pt x="4" y="4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91"/>
              <p:cNvSpPr>
                <a:spLocks/>
              </p:cNvSpPr>
              <p:nvPr/>
            </p:nvSpPr>
            <p:spPr bwMode="gray">
              <a:xfrm>
                <a:off x="3424" y="2076"/>
                <a:ext cx="73" cy="38"/>
              </a:xfrm>
              <a:custGeom>
                <a:avLst/>
                <a:gdLst>
                  <a:gd name="T0" fmla="*/ 28 w 31"/>
                  <a:gd name="T1" fmla="*/ 16 h 16"/>
                  <a:gd name="T2" fmla="*/ 27 w 31"/>
                  <a:gd name="T3" fmla="*/ 15 h 16"/>
                  <a:gd name="T4" fmla="*/ 1 w 31"/>
                  <a:gd name="T5" fmla="*/ 4 h 16"/>
                  <a:gd name="T6" fmla="*/ 0 w 31"/>
                  <a:gd name="T7" fmla="*/ 1 h 16"/>
                  <a:gd name="T8" fmla="*/ 3 w 31"/>
                  <a:gd name="T9" fmla="*/ 0 h 16"/>
                  <a:gd name="T10" fmla="*/ 3 w 31"/>
                  <a:gd name="T11" fmla="*/ 0 h 16"/>
                  <a:gd name="T12" fmla="*/ 29 w 31"/>
                  <a:gd name="T13" fmla="*/ 12 h 16"/>
                  <a:gd name="T14" fmla="*/ 30 w 31"/>
                  <a:gd name="T15" fmla="*/ 14 h 16"/>
                  <a:gd name="T16" fmla="*/ 28 w 31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" h="16">
                    <a:moveTo>
                      <a:pt x="28" y="16"/>
                    </a:moveTo>
                    <a:cubicBezTo>
                      <a:pt x="28" y="16"/>
                      <a:pt x="28" y="16"/>
                      <a:pt x="27" y="15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1" y="0"/>
                      <a:pt x="2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30" y="12"/>
                      <a:pt x="31" y="13"/>
                      <a:pt x="30" y="14"/>
                    </a:cubicBezTo>
                    <a:cubicBezTo>
                      <a:pt x="30" y="15"/>
                      <a:pt x="29" y="16"/>
                      <a:pt x="2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92"/>
              <p:cNvSpPr>
                <a:spLocks noEditPoints="1"/>
              </p:cNvSpPr>
              <p:nvPr/>
            </p:nvSpPr>
            <p:spPr bwMode="gray">
              <a:xfrm>
                <a:off x="3184" y="1636"/>
                <a:ext cx="1312" cy="597"/>
              </a:xfrm>
              <a:custGeom>
                <a:avLst/>
                <a:gdLst>
                  <a:gd name="T0" fmla="*/ 394 w 552"/>
                  <a:gd name="T1" fmla="*/ 251 h 251"/>
                  <a:gd name="T2" fmla="*/ 318 w 552"/>
                  <a:gd name="T3" fmla="*/ 216 h 251"/>
                  <a:gd name="T4" fmla="*/ 318 w 552"/>
                  <a:gd name="T5" fmla="*/ 213 h 251"/>
                  <a:gd name="T6" fmla="*/ 326 w 552"/>
                  <a:gd name="T7" fmla="*/ 209 h 251"/>
                  <a:gd name="T8" fmla="*/ 331 w 552"/>
                  <a:gd name="T9" fmla="*/ 207 h 251"/>
                  <a:gd name="T10" fmla="*/ 306 w 552"/>
                  <a:gd name="T11" fmla="*/ 179 h 251"/>
                  <a:gd name="T12" fmla="*/ 208 w 552"/>
                  <a:gd name="T13" fmla="*/ 117 h 251"/>
                  <a:gd name="T14" fmla="*/ 138 w 552"/>
                  <a:gd name="T15" fmla="*/ 103 h 251"/>
                  <a:gd name="T16" fmla="*/ 79 w 552"/>
                  <a:gd name="T17" fmla="*/ 109 h 251"/>
                  <a:gd name="T18" fmla="*/ 9 w 552"/>
                  <a:gd name="T19" fmla="*/ 78 h 251"/>
                  <a:gd name="T20" fmla="*/ 1 w 552"/>
                  <a:gd name="T21" fmla="*/ 74 h 251"/>
                  <a:gd name="T22" fmla="*/ 1 w 552"/>
                  <a:gd name="T23" fmla="*/ 70 h 251"/>
                  <a:gd name="T24" fmla="*/ 9 w 552"/>
                  <a:gd name="T25" fmla="*/ 67 h 251"/>
                  <a:gd name="T26" fmla="*/ 158 w 552"/>
                  <a:gd name="T27" fmla="*/ 0 h 251"/>
                  <a:gd name="T28" fmla="*/ 543 w 552"/>
                  <a:gd name="T29" fmla="*/ 173 h 251"/>
                  <a:gd name="T30" fmla="*/ 552 w 552"/>
                  <a:gd name="T31" fmla="*/ 178 h 251"/>
                  <a:gd name="T32" fmla="*/ 543 w 552"/>
                  <a:gd name="T33" fmla="*/ 184 h 251"/>
                  <a:gd name="T34" fmla="*/ 396 w 552"/>
                  <a:gd name="T35" fmla="*/ 251 h 251"/>
                  <a:gd name="T36" fmla="*/ 323 w 552"/>
                  <a:gd name="T37" fmla="*/ 215 h 251"/>
                  <a:gd name="T38" fmla="*/ 542 w 552"/>
                  <a:gd name="T39" fmla="*/ 180 h 251"/>
                  <a:gd name="T40" fmla="*/ 546 w 552"/>
                  <a:gd name="T41" fmla="*/ 178 h 251"/>
                  <a:gd name="T42" fmla="*/ 542 w 552"/>
                  <a:gd name="T43" fmla="*/ 177 h 251"/>
                  <a:gd name="T44" fmla="*/ 10 w 552"/>
                  <a:gd name="T45" fmla="*/ 70 h 251"/>
                  <a:gd name="T46" fmla="*/ 6 w 552"/>
                  <a:gd name="T47" fmla="*/ 72 h 251"/>
                  <a:gd name="T48" fmla="*/ 10 w 552"/>
                  <a:gd name="T49" fmla="*/ 74 h 251"/>
                  <a:gd name="T50" fmla="*/ 101 w 552"/>
                  <a:gd name="T51" fmla="*/ 94 h 251"/>
                  <a:gd name="T52" fmla="*/ 102 w 552"/>
                  <a:gd name="T53" fmla="*/ 94 h 251"/>
                  <a:gd name="T54" fmla="*/ 156 w 552"/>
                  <a:gd name="T55" fmla="*/ 101 h 251"/>
                  <a:gd name="T56" fmla="*/ 298 w 552"/>
                  <a:gd name="T57" fmla="*/ 168 h 251"/>
                  <a:gd name="T58" fmla="*/ 342 w 552"/>
                  <a:gd name="T59" fmla="*/ 200 h 251"/>
                  <a:gd name="T60" fmla="*/ 345 w 552"/>
                  <a:gd name="T61" fmla="*/ 204 h 251"/>
                  <a:gd name="T62" fmla="*/ 332 w 552"/>
                  <a:gd name="T63" fmla="*/ 211 h 251"/>
                  <a:gd name="T64" fmla="*/ 327 w 552"/>
                  <a:gd name="T65" fmla="*/ 213 h 251"/>
                  <a:gd name="T66" fmla="*/ 323 w 552"/>
                  <a:gd name="T67" fmla="*/ 215 h 251"/>
                  <a:gd name="T68" fmla="*/ 394 w 552"/>
                  <a:gd name="T69" fmla="*/ 244 h 251"/>
                  <a:gd name="T70" fmla="*/ 332 w 552"/>
                  <a:gd name="T71" fmla="*/ 215 h 251"/>
                  <a:gd name="T72" fmla="*/ 354 w 552"/>
                  <a:gd name="T73" fmla="*/ 203 h 251"/>
                  <a:gd name="T74" fmla="*/ 347 w 552"/>
                  <a:gd name="T75" fmla="*/ 200 h 251"/>
                  <a:gd name="T76" fmla="*/ 265 w 552"/>
                  <a:gd name="T77" fmla="*/ 139 h 251"/>
                  <a:gd name="T78" fmla="*/ 165 w 552"/>
                  <a:gd name="T79" fmla="*/ 102 h 251"/>
                  <a:gd name="T80" fmla="*/ 110 w 552"/>
                  <a:gd name="T81" fmla="*/ 94 h 251"/>
                  <a:gd name="T82" fmla="*/ 102 w 552"/>
                  <a:gd name="T83" fmla="*/ 91 h 251"/>
                  <a:gd name="T84" fmla="*/ 77 w 552"/>
                  <a:gd name="T85" fmla="*/ 101 h 251"/>
                  <a:gd name="T86" fmla="*/ 16 w 552"/>
                  <a:gd name="T87" fmla="*/ 72 h 251"/>
                  <a:gd name="T88" fmla="*/ 137 w 552"/>
                  <a:gd name="T89" fmla="*/ 16 h 251"/>
                  <a:gd name="T90" fmla="*/ 156 w 552"/>
                  <a:gd name="T91" fmla="*/ 7 h 251"/>
                  <a:gd name="T92" fmla="*/ 535 w 552"/>
                  <a:gd name="T93" fmla="*/ 177 h 251"/>
                  <a:gd name="T94" fmla="*/ 535 w 552"/>
                  <a:gd name="T95" fmla="*/ 180 h 251"/>
                  <a:gd name="T96" fmla="*/ 395 w 552"/>
                  <a:gd name="T97" fmla="*/ 244 h 251"/>
                  <a:gd name="T98" fmla="*/ 395 w 552"/>
                  <a:gd name="T99" fmla="*/ 240 h 251"/>
                  <a:gd name="T100" fmla="*/ 157 w 552"/>
                  <a:gd name="T101" fmla="*/ 11 h 251"/>
                  <a:gd name="T102" fmla="*/ 139 w 552"/>
                  <a:gd name="T103" fmla="*/ 19 h 251"/>
                  <a:gd name="T104" fmla="*/ 78 w 552"/>
                  <a:gd name="T105" fmla="*/ 97 h 251"/>
                  <a:gd name="T106" fmla="*/ 103 w 552"/>
                  <a:gd name="T107" fmla="*/ 87 h 251"/>
                  <a:gd name="T108" fmla="*/ 146 w 552"/>
                  <a:gd name="T109" fmla="*/ 95 h 251"/>
                  <a:gd name="T110" fmla="*/ 219 w 552"/>
                  <a:gd name="T111" fmla="*/ 111 h 251"/>
                  <a:gd name="T112" fmla="*/ 313 w 552"/>
                  <a:gd name="T113" fmla="*/ 169 h 251"/>
                  <a:gd name="T114" fmla="*/ 352 w 552"/>
                  <a:gd name="T115" fmla="*/ 198 h 251"/>
                  <a:gd name="T116" fmla="*/ 361 w 552"/>
                  <a:gd name="T117" fmla="*/ 203 h 251"/>
                  <a:gd name="T118" fmla="*/ 339 w 552"/>
                  <a:gd name="T119" fmla="*/ 215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52" h="251">
                    <a:moveTo>
                      <a:pt x="395" y="251"/>
                    </a:moveTo>
                    <a:cubicBezTo>
                      <a:pt x="395" y="251"/>
                      <a:pt x="394" y="251"/>
                      <a:pt x="394" y="251"/>
                    </a:cubicBezTo>
                    <a:cubicBezTo>
                      <a:pt x="394" y="251"/>
                      <a:pt x="394" y="251"/>
                      <a:pt x="394" y="251"/>
                    </a:cubicBezTo>
                    <a:cubicBezTo>
                      <a:pt x="318" y="216"/>
                      <a:pt x="318" y="216"/>
                      <a:pt x="318" y="216"/>
                    </a:cubicBezTo>
                    <a:cubicBezTo>
                      <a:pt x="317" y="216"/>
                      <a:pt x="317" y="215"/>
                      <a:pt x="317" y="215"/>
                    </a:cubicBezTo>
                    <a:cubicBezTo>
                      <a:pt x="317" y="214"/>
                      <a:pt x="317" y="213"/>
                      <a:pt x="318" y="213"/>
                    </a:cubicBezTo>
                    <a:cubicBezTo>
                      <a:pt x="326" y="209"/>
                      <a:pt x="326" y="209"/>
                      <a:pt x="326" y="209"/>
                    </a:cubicBezTo>
                    <a:cubicBezTo>
                      <a:pt x="326" y="209"/>
                      <a:pt x="326" y="209"/>
                      <a:pt x="326" y="209"/>
                    </a:cubicBezTo>
                    <a:cubicBezTo>
                      <a:pt x="330" y="207"/>
                      <a:pt x="330" y="207"/>
                      <a:pt x="330" y="207"/>
                    </a:cubicBezTo>
                    <a:cubicBezTo>
                      <a:pt x="330" y="207"/>
                      <a:pt x="331" y="207"/>
                      <a:pt x="331" y="207"/>
                    </a:cubicBezTo>
                    <a:cubicBezTo>
                      <a:pt x="339" y="203"/>
                      <a:pt x="339" y="203"/>
                      <a:pt x="339" y="203"/>
                    </a:cubicBezTo>
                    <a:cubicBezTo>
                      <a:pt x="327" y="195"/>
                      <a:pt x="317" y="187"/>
                      <a:pt x="306" y="179"/>
                    </a:cubicBezTo>
                    <a:cubicBezTo>
                      <a:pt x="303" y="176"/>
                      <a:pt x="299" y="174"/>
                      <a:pt x="296" y="171"/>
                    </a:cubicBezTo>
                    <a:cubicBezTo>
                      <a:pt x="271" y="153"/>
                      <a:pt x="241" y="130"/>
                      <a:pt x="208" y="117"/>
                    </a:cubicBezTo>
                    <a:cubicBezTo>
                      <a:pt x="193" y="112"/>
                      <a:pt x="176" y="108"/>
                      <a:pt x="156" y="105"/>
                    </a:cubicBezTo>
                    <a:cubicBezTo>
                      <a:pt x="150" y="104"/>
                      <a:pt x="144" y="104"/>
                      <a:pt x="138" y="103"/>
                    </a:cubicBezTo>
                    <a:cubicBezTo>
                      <a:pt x="126" y="102"/>
                      <a:pt x="114" y="100"/>
                      <a:pt x="103" y="98"/>
                    </a:cubicBezTo>
                    <a:cubicBezTo>
                      <a:pt x="79" y="109"/>
                      <a:pt x="79" y="109"/>
                      <a:pt x="79" y="109"/>
                    </a:cubicBezTo>
                    <a:cubicBezTo>
                      <a:pt x="78" y="109"/>
                      <a:pt x="78" y="109"/>
                      <a:pt x="77" y="109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9" y="78"/>
                      <a:pt x="9" y="78"/>
                      <a:pt x="9" y="78"/>
                    </a:cubicBezTo>
                    <a:cubicBezTo>
                      <a:pt x="1" y="74"/>
                      <a:pt x="1" y="74"/>
                      <a:pt x="1" y="74"/>
                    </a:cubicBezTo>
                    <a:cubicBezTo>
                      <a:pt x="0" y="74"/>
                      <a:pt x="0" y="73"/>
                      <a:pt x="0" y="72"/>
                    </a:cubicBezTo>
                    <a:cubicBezTo>
                      <a:pt x="0" y="72"/>
                      <a:pt x="0" y="71"/>
                      <a:pt x="1" y="70"/>
                    </a:cubicBezTo>
                    <a:cubicBezTo>
                      <a:pt x="9" y="67"/>
                      <a:pt x="9" y="67"/>
                      <a:pt x="9" y="67"/>
                    </a:cubicBezTo>
                    <a:cubicBezTo>
                      <a:pt x="9" y="67"/>
                      <a:pt x="9" y="67"/>
                      <a:pt x="9" y="67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57" y="0"/>
                      <a:pt x="157" y="0"/>
                      <a:pt x="158" y="0"/>
                    </a:cubicBezTo>
                    <a:cubicBezTo>
                      <a:pt x="543" y="173"/>
                      <a:pt x="543" y="173"/>
                      <a:pt x="543" y="173"/>
                    </a:cubicBezTo>
                    <a:cubicBezTo>
                      <a:pt x="543" y="173"/>
                      <a:pt x="543" y="173"/>
                      <a:pt x="543" y="173"/>
                    </a:cubicBezTo>
                    <a:cubicBezTo>
                      <a:pt x="551" y="177"/>
                      <a:pt x="551" y="177"/>
                      <a:pt x="551" y="177"/>
                    </a:cubicBezTo>
                    <a:cubicBezTo>
                      <a:pt x="552" y="177"/>
                      <a:pt x="552" y="178"/>
                      <a:pt x="552" y="178"/>
                    </a:cubicBezTo>
                    <a:cubicBezTo>
                      <a:pt x="552" y="179"/>
                      <a:pt x="552" y="180"/>
                      <a:pt x="551" y="180"/>
                    </a:cubicBezTo>
                    <a:cubicBezTo>
                      <a:pt x="543" y="184"/>
                      <a:pt x="543" y="184"/>
                      <a:pt x="543" y="184"/>
                    </a:cubicBezTo>
                    <a:cubicBezTo>
                      <a:pt x="543" y="184"/>
                      <a:pt x="543" y="184"/>
                      <a:pt x="543" y="184"/>
                    </a:cubicBezTo>
                    <a:cubicBezTo>
                      <a:pt x="396" y="251"/>
                      <a:pt x="396" y="251"/>
                      <a:pt x="396" y="251"/>
                    </a:cubicBezTo>
                    <a:cubicBezTo>
                      <a:pt x="396" y="251"/>
                      <a:pt x="395" y="251"/>
                      <a:pt x="395" y="251"/>
                    </a:cubicBezTo>
                    <a:close/>
                    <a:moveTo>
                      <a:pt x="323" y="215"/>
                    </a:moveTo>
                    <a:cubicBezTo>
                      <a:pt x="395" y="247"/>
                      <a:pt x="395" y="247"/>
                      <a:pt x="395" y="247"/>
                    </a:cubicBezTo>
                    <a:cubicBezTo>
                      <a:pt x="542" y="180"/>
                      <a:pt x="542" y="180"/>
                      <a:pt x="542" y="180"/>
                    </a:cubicBezTo>
                    <a:cubicBezTo>
                      <a:pt x="542" y="180"/>
                      <a:pt x="542" y="180"/>
                      <a:pt x="542" y="180"/>
                    </a:cubicBezTo>
                    <a:cubicBezTo>
                      <a:pt x="546" y="178"/>
                      <a:pt x="546" y="178"/>
                      <a:pt x="546" y="178"/>
                    </a:cubicBezTo>
                    <a:cubicBezTo>
                      <a:pt x="542" y="177"/>
                      <a:pt x="542" y="177"/>
                      <a:pt x="542" y="177"/>
                    </a:cubicBezTo>
                    <a:cubicBezTo>
                      <a:pt x="542" y="177"/>
                      <a:pt x="542" y="177"/>
                      <a:pt x="542" y="177"/>
                    </a:cubicBezTo>
                    <a:cubicBezTo>
                      <a:pt x="157" y="4"/>
                      <a:pt x="157" y="4"/>
                      <a:pt x="157" y="4"/>
                    </a:cubicBezTo>
                    <a:cubicBezTo>
                      <a:pt x="10" y="70"/>
                      <a:pt x="10" y="70"/>
                      <a:pt x="10" y="70"/>
                    </a:cubicBezTo>
                    <a:cubicBezTo>
                      <a:pt x="10" y="71"/>
                      <a:pt x="10" y="71"/>
                      <a:pt x="10" y="71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78" y="105"/>
                      <a:pt x="78" y="105"/>
                      <a:pt x="78" y="105"/>
                    </a:cubicBezTo>
                    <a:cubicBezTo>
                      <a:pt x="101" y="94"/>
                      <a:pt x="101" y="94"/>
                      <a:pt x="101" y="94"/>
                    </a:cubicBezTo>
                    <a:cubicBezTo>
                      <a:pt x="101" y="94"/>
                      <a:pt x="101" y="94"/>
                      <a:pt x="101" y="94"/>
                    </a:cubicBezTo>
                    <a:cubicBezTo>
                      <a:pt x="101" y="94"/>
                      <a:pt x="102" y="94"/>
                      <a:pt x="102" y="94"/>
                    </a:cubicBezTo>
                    <a:cubicBezTo>
                      <a:pt x="114" y="96"/>
                      <a:pt x="127" y="98"/>
                      <a:pt x="138" y="99"/>
                    </a:cubicBezTo>
                    <a:cubicBezTo>
                      <a:pt x="144" y="100"/>
                      <a:pt x="150" y="100"/>
                      <a:pt x="156" y="101"/>
                    </a:cubicBezTo>
                    <a:cubicBezTo>
                      <a:pt x="177" y="104"/>
                      <a:pt x="194" y="108"/>
                      <a:pt x="209" y="114"/>
                    </a:cubicBezTo>
                    <a:cubicBezTo>
                      <a:pt x="243" y="126"/>
                      <a:pt x="274" y="149"/>
                      <a:pt x="298" y="168"/>
                    </a:cubicBezTo>
                    <a:cubicBezTo>
                      <a:pt x="302" y="170"/>
                      <a:pt x="305" y="173"/>
                      <a:pt x="308" y="176"/>
                    </a:cubicBezTo>
                    <a:cubicBezTo>
                      <a:pt x="319" y="184"/>
                      <a:pt x="330" y="193"/>
                      <a:pt x="342" y="200"/>
                    </a:cubicBezTo>
                    <a:cubicBezTo>
                      <a:pt x="344" y="202"/>
                      <a:pt x="344" y="202"/>
                      <a:pt x="344" y="202"/>
                    </a:cubicBezTo>
                    <a:cubicBezTo>
                      <a:pt x="344" y="202"/>
                      <a:pt x="345" y="203"/>
                      <a:pt x="345" y="204"/>
                    </a:cubicBezTo>
                    <a:cubicBezTo>
                      <a:pt x="345" y="204"/>
                      <a:pt x="344" y="205"/>
                      <a:pt x="344" y="205"/>
                    </a:cubicBezTo>
                    <a:cubicBezTo>
                      <a:pt x="332" y="211"/>
                      <a:pt x="332" y="211"/>
                      <a:pt x="332" y="211"/>
                    </a:cubicBezTo>
                    <a:cubicBezTo>
                      <a:pt x="332" y="211"/>
                      <a:pt x="332" y="211"/>
                      <a:pt x="331" y="211"/>
                    </a:cubicBezTo>
                    <a:cubicBezTo>
                      <a:pt x="327" y="213"/>
                      <a:pt x="327" y="213"/>
                      <a:pt x="327" y="213"/>
                    </a:cubicBezTo>
                    <a:cubicBezTo>
                      <a:pt x="327" y="213"/>
                      <a:pt x="327" y="213"/>
                      <a:pt x="327" y="213"/>
                    </a:cubicBezTo>
                    <a:lnTo>
                      <a:pt x="323" y="215"/>
                    </a:lnTo>
                    <a:close/>
                    <a:moveTo>
                      <a:pt x="395" y="244"/>
                    </a:moveTo>
                    <a:cubicBezTo>
                      <a:pt x="395" y="244"/>
                      <a:pt x="394" y="244"/>
                      <a:pt x="394" y="244"/>
                    </a:cubicBezTo>
                    <a:cubicBezTo>
                      <a:pt x="334" y="216"/>
                      <a:pt x="334" y="216"/>
                      <a:pt x="334" y="216"/>
                    </a:cubicBezTo>
                    <a:cubicBezTo>
                      <a:pt x="333" y="216"/>
                      <a:pt x="332" y="215"/>
                      <a:pt x="332" y="215"/>
                    </a:cubicBezTo>
                    <a:cubicBezTo>
                      <a:pt x="332" y="214"/>
                      <a:pt x="333" y="213"/>
                      <a:pt x="334" y="213"/>
                    </a:cubicBezTo>
                    <a:cubicBezTo>
                      <a:pt x="354" y="203"/>
                      <a:pt x="354" y="203"/>
                      <a:pt x="354" y="203"/>
                    </a:cubicBezTo>
                    <a:cubicBezTo>
                      <a:pt x="350" y="202"/>
                      <a:pt x="350" y="202"/>
                      <a:pt x="350" y="202"/>
                    </a:cubicBezTo>
                    <a:cubicBezTo>
                      <a:pt x="347" y="200"/>
                      <a:pt x="347" y="200"/>
                      <a:pt x="347" y="200"/>
                    </a:cubicBezTo>
                    <a:cubicBezTo>
                      <a:pt x="335" y="191"/>
                      <a:pt x="322" y="182"/>
                      <a:pt x="310" y="173"/>
                    </a:cubicBezTo>
                    <a:cubicBezTo>
                      <a:pt x="296" y="161"/>
                      <a:pt x="280" y="150"/>
                      <a:pt x="265" y="139"/>
                    </a:cubicBezTo>
                    <a:cubicBezTo>
                      <a:pt x="247" y="128"/>
                      <a:pt x="232" y="120"/>
                      <a:pt x="218" y="114"/>
                    </a:cubicBezTo>
                    <a:cubicBezTo>
                      <a:pt x="203" y="109"/>
                      <a:pt x="186" y="105"/>
                      <a:pt x="165" y="102"/>
                    </a:cubicBezTo>
                    <a:cubicBezTo>
                      <a:pt x="158" y="101"/>
                      <a:pt x="152" y="100"/>
                      <a:pt x="146" y="99"/>
                    </a:cubicBezTo>
                    <a:cubicBezTo>
                      <a:pt x="134" y="98"/>
                      <a:pt x="122" y="96"/>
                      <a:pt x="110" y="94"/>
                    </a:cubicBezTo>
                    <a:cubicBezTo>
                      <a:pt x="110" y="94"/>
                      <a:pt x="110" y="94"/>
                      <a:pt x="109" y="94"/>
                    </a:cubicBezTo>
                    <a:cubicBezTo>
                      <a:pt x="102" y="91"/>
                      <a:pt x="102" y="91"/>
                      <a:pt x="102" y="91"/>
                    </a:cubicBezTo>
                    <a:cubicBezTo>
                      <a:pt x="79" y="101"/>
                      <a:pt x="79" y="101"/>
                      <a:pt x="79" y="101"/>
                    </a:cubicBezTo>
                    <a:cubicBezTo>
                      <a:pt x="78" y="102"/>
                      <a:pt x="78" y="102"/>
                      <a:pt x="77" y="101"/>
                    </a:cubicBezTo>
                    <a:cubicBezTo>
                      <a:pt x="17" y="74"/>
                      <a:pt x="17" y="74"/>
                      <a:pt x="17" y="74"/>
                    </a:cubicBezTo>
                    <a:cubicBezTo>
                      <a:pt x="16" y="74"/>
                      <a:pt x="16" y="73"/>
                      <a:pt x="16" y="72"/>
                    </a:cubicBezTo>
                    <a:cubicBezTo>
                      <a:pt x="16" y="72"/>
                      <a:pt x="16" y="71"/>
                      <a:pt x="17" y="70"/>
                    </a:cubicBezTo>
                    <a:cubicBezTo>
                      <a:pt x="137" y="16"/>
                      <a:pt x="137" y="16"/>
                      <a:pt x="137" y="16"/>
                    </a:cubicBezTo>
                    <a:cubicBezTo>
                      <a:pt x="137" y="16"/>
                      <a:pt x="137" y="16"/>
                      <a:pt x="137" y="16"/>
                    </a:cubicBezTo>
                    <a:cubicBezTo>
                      <a:pt x="156" y="7"/>
                      <a:pt x="156" y="7"/>
                      <a:pt x="156" y="7"/>
                    </a:cubicBezTo>
                    <a:cubicBezTo>
                      <a:pt x="157" y="7"/>
                      <a:pt x="157" y="7"/>
                      <a:pt x="158" y="7"/>
                    </a:cubicBezTo>
                    <a:cubicBezTo>
                      <a:pt x="535" y="177"/>
                      <a:pt x="535" y="177"/>
                      <a:pt x="535" y="177"/>
                    </a:cubicBezTo>
                    <a:cubicBezTo>
                      <a:pt x="536" y="177"/>
                      <a:pt x="536" y="178"/>
                      <a:pt x="536" y="178"/>
                    </a:cubicBezTo>
                    <a:cubicBezTo>
                      <a:pt x="536" y="179"/>
                      <a:pt x="536" y="180"/>
                      <a:pt x="535" y="180"/>
                    </a:cubicBezTo>
                    <a:cubicBezTo>
                      <a:pt x="396" y="244"/>
                      <a:pt x="396" y="244"/>
                      <a:pt x="396" y="244"/>
                    </a:cubicBezTo>
                    <a:cubicBezTo>
                      <a:pt x="395" y="244"/>
                      <a:pt x="395" y="244"/>
                      <a:pt x="395" y="244"/>
                    </a:cubicBezTo>
                    <a:close/>
                    <a:moveTo>
                      <a:pt x="339" y="215"/>
                    </a:moveTo>
                    <a:cubicBezTo>
                      <a:pt x="395" y="240"/>
                      <a:pt x="395" y="240"/>
                      <a:pt x="395" y="240"/>
                    </a:cubicBezTo>
                    <a:cubicBezTo>
                      <a:pt x="530" y="178"/>
                      <a:pt x="530" y="178"/>
                      <a:pt x="530" y="178"/>
                    </a:cubicBezTo>
                    <a:cubicBezTo>
                      <a:pt x="157" y="11"/>
                      <a:pt x="157" y="11"/>
                      <a:pt x="157" y="11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139" y="19"/>
                      <a:pt x="139" y="19"/>
                      <a:pt x="139" y="19"/>
                    </a:cubicBezTo>
                    <a:cubicBezTo>
                      <a:pt x="22" y="72"/>
                      <a:pt x="22" y="72"/>
                      <a:pt x="22" y="72"/>
                    </a:cubicBezTo>
                    <a:cubicBezTo>
                      <a:pt x="78" y="97"/>
                      <a:pt x="78" y="97"/>
                      <a:pt x="78" y="97"/>
                    </a:cubicBezTo>
                    <a:cubicBezTo>
                      <a:pt x="102" y="87"/>
                      <a:pt x="102" y="87"/>
                      <a:pt x="102" y="87"/>
                    </a:cubicBezTo>
                    <a:cubicBezTo>
                      <a:pt x="102" y="86"/>
                      <a:pt x="103" y="86"/>
                      <a:pt x="103" y="87"/>
                    </a:cubicBezTo>
                    <a:cubicBezTo>
                      <a:pt x="111" y="90"/>
                      <a:pt x="111" y="90"/>
                      <a:pt x="111" y="90"/>
                    </a:cubicBezTo>
                    <a:cubicBezTo>
                      <a:pt x="123" y="93"/>
                      <a:pt x="135" y="94"/>
                      <a:pt x="146" y="95"/>
                    </a:cubicBezTo>
                    <a:cubicBezTo>
                      <a:pt x="153" y="96"/>
                      <a:pt x="159" y="97"/>
                      <a:pt x="165" y="98"/>
                    </a:cubicBezTo>
                    <a:cubicBezTo>
                      <a:pt x="187" y="101"/>
                      <a:pt x="204" y="105"/>
                      <a:pt x="219" y="111"/>
                    </a:cubicBezTo>
                    <a:cubicBezTo>
                      <a:pt x="234" y="116"/>
                      <a:pt x="249" y="124"/>
                      <a:pt x="267" y="136"/>
                    </a:cubicBezTo>
                    <a:cubicBezTo>
                      <a:pt x="283" y="146"/>
                      <a:pt x="298" y="158"/>
                      <a:pt x="313" y="169"/>
                    </a:cubicBezTo>
                    <a:cubicBezTo>
                      <a:pt x="325" y="179"/>
                      <a:pt x="337" y="188"/>
                      <a:pt x="350" y="197"/>
                    </a:cubicBezTo>
                    <a:cubicBezTo>
                      <a:pt x="352" y="198"/>
                      <a:pt x="352" y="198"/>
                      <a:pt x="352" y="198"/>
                    </a:cubicBezTo>
                    <a:cubicBezTo>
                      <a:pt x="360" y="202"/>
                      <a:pt x="360" y="202"/>
                      <a:pt x="360" y="202"/>
                    </a:cubicBezTo>
                    <a:cubicBezTo>
                      <a:pt x="360" y="202"/>
                      <a:pt x="361" y="203"/>
                      <a:pt x="361" y="203"/>
                    </a:cubicBezTo>
                    <a:cubicBezTo>
                      <a:pt x="361" y="204"/>
                      <a:pt x="360" y="205"/>
                      <a:pt x="360" y="205"/>
                    </a:cubicBezTo>
                    <a:lnTo>
                      <a:pt x="339" y="2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93"/>
              <p:cNvSpPr>
                <a:spLocks noEditPoints="1"/>
              </p:cNvSpPr>
              <p:nvPr/>
            </p:nvSpPr>
            <p:spPr bwMode="gray">
              <a:xfrm>
                <a:off x="3476" y="2166"/>
                <a:ext cx="74" cy="126"/>
              </a:xfrm>
              <a:custGeom>
                <a:avLst/>
                <a:gdLst>
                  <a:gd name="T0" fmla="*/ 29 w 31"/>
                  <a:gd name="T1" fmla="*/ 53 h 53"/>
                  <a:gd name="T2" fmla="*/ 28 w 31"/>
                  <a:gd name="T3" fmla="*/ 53 h 53"/>
                  <a:gd name="T4" fmla="*/ 1 w 31"/>
                  <a:gd name="T5" fmla="*/ 41 h 53"/>
                  <a:gd name="T6" fmla="*/ 0 w 31"/>
                  <a:gd name="T7" fmla="*/ 39 h 53"/>
                  <a:gd name="T8" fmla="*/ 0 w 31"/>
                  <a:gd name="T9" fmla="*/ 2 h 53"/>
                  <a:gd name="T10" fmla="*/ 0 w 31"/>
                  <a:gd name="T11" fmla="*/ 1 h 53"/>
                  <a:gd name="T12" fmla="*/ 2 w 31"/>
                  <a:gd name="T13" fmla="*/ 0 h 53"/>
                  <a:gd name="T14" fmla="*/ 16 w 31"/>
                  <a:gd name="T15" fmla="*/ 5 h 53"/>
                  <a:gd name="T16" fmla="*/ 30 w 31"/>
                  <a:gd name="T17" fmla="*/ 13 h 53"/>
                  <a:gd name="T18" fmla="*/ 31 w 31"/>
                  <a:gd name="T19" fmla="*/ 15 h 53"/>
                  <a:gd name="T20" fmla="*/ 31 w 31"/>
                  <a:gd name="T21" fmla="*/ 51 h 53"/>
                  <a:gd name="T22" fmla="*/ 30 w 31"/>
                  <a:gd name="T23" fmla="*/ 53 h 53"/>
                  <a:gd name="T24" fmla="*/ 29 w 31"/>
                  <a:gd name="T25" fmla="*/ 53 h 53"/>
                  <a:gd name="T26" fmla="*/ 4 w 31"/>
                  <a:gd name="T27" fmla="*/ 37 h 53"/>
                  <a:gd name="T28" fmla="*/ 27 w 31"/>
                  <a:gd name="T29" fmla="*/ 48 h 53"/>
                  <a:gd name="T30" fmla="*/ 27 w 31"/>
                  <a:gd name="T31" fmla="*/ 16 h 53"/>
                  <a:gd name="T32" fmla="*/ 15 w 31"/>
                  <a:gd name="T33" fmla="*/ 9 h 53"/>
                  <a:gd name="T34" fmla="*/ 4 w 31"/>
                  <a:gd name="T35" fmla="*/ 5 h 53"/>
                  <a:gd name="T36" fmla="*/ 4 w 31"/>
                  <a:gd name="T37" fmla="*/ 3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3">
                    <a:moveTo>
                      <a:pt x="29" y="53"/>
                    </a:moveTo>
                    <a:cubicBezTo>
                      <a:pt x="29" y="53"/>
                      <a:pt x="29" y="53"/>
                      <a:pt x="28" y="53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0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6" y="1"/>
                      <a:pt x="11" y="3"/>
                      <a:pt x="16" y="5"/>
                    </a:cubicBezTo>
                    <a:cubicBezTo>
                      <a:pt x="21" y="7"/>
                      <a:pt x="26" y="10"/>
                      <a:pt x="30" y="13"/>
                    </a:cubicBezTo>
                    <a:cubicBezTo>
                      <a:pt x="31" y="13"/>
                      <a:pt x="31" y="14"/>
                      <a:pt x="31" y="15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52"/>
                      <a:pt x="31" y="52"/>
                      <a:pt x="30" y="53"/>
                    </a:cubicBezTo>
                    <a:cubicBezTo>
                      <a:pt x="30" y="53"/>
                      <a:pt x="30" y="53"/>
                      <a:pt x="29" y="53"/>
                    </a:cubicBezTo>
                    <a:close/>
                    <a:moveTo>
                      <a:pt x="4" y="37"/>
                    </a:move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3" y="13"/>
                      <a:pt x="19" y="11"/>
                      <a:pt x="15" y="9"/>
                    </a:cubicBezTo>
                    <a:cubicBezTo>
                      <a:pt x="11" y="7"/>
                      <a:pt x="7" y="6"/>
                      <a:pt x="4" y="5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94"/>
              <p:cNvSpPr>
                <a:spLocks noEditPoints="1"/>
              </p:cNvSpPr>
              <p:nvPr/>
            </p:nvSpPr>
            <p:spPr bwMode="gray">
              <a:xfrm>
                <a:off x="3421" y="1859"/>
                <a:ext cx="583" cy="278"/>
              </a:xfrm>
              <a:custGeom>
                <a:avLst/>
                <a:gdLst>
                  <a:gd name="T0" fmla="*/ 231 w 245"/>
                  <a:gd name="T1" fmla="*/ 117 h 117"/>
                  <a:gd name="T2" fmla="*/ 230 w 245"/>
                  <a:gd name="T3" fmla="*/ 116 h 117"/>
                  <a:gd name="T4" fmla="*/ 229 w 245"/>
                  <a:gd name="T5" fmla="*/ 115 h 117"/>
                  <a:gd name="T6" fmla="*/ 203 w 245"/>
                  <a:gd name="T7" fmla="*/ 96 h 117"/>
                  <a:gd name="T8" fmla="*/ 186 w 245"/>
                  <a:gd name="T9" fmla="*/ 82 h 117"/>
                  <a:gd name="T10" fmla="*/ 97 w 245"/>
                  <a:gd name="T11" fmla="*/ 31 h 117"/>
                  <a:gd name="T12" fmla="*/ 47 w 245"/>
                  <a:gd name="T13" fmla="*/ 21 h 117"/>
                  <a:gd name="T14" fmla="*/ 35 w 245"/>
                  <a:gd name="T15" fmla="*/ 20 h 117"/>
                  <a:gd name="T16" fmla="*/ 2 w 245"/>
                  <a:gd name="T17" fmla="*/ 16 h 117"/>
                  <a:gd name="T18" fmla="*/ 0 w 245"/>
                  <a:gd name="T19" fmla="*/ 14 h 117"/>
                  <a:gd name="T20" fmla="*/ 0 w 245"/>
                  <a:gd name="T21" fmla="*/ 2 h 117"/>
                  <a:gd name="T22" fmla="*/ 1 w 245"/>
                  <a:gd name="T23" fmla="*/ 0 h 117"/>
                  <a:gd name="T24" fmla="*/ 2 w 245"/>
                  <a:gd name="T25" fmla="*/ 0 h 117"/>
                  <a:gd name="T26" fmla="*/ 39 w 245"/>
                  <a:gd name="T27" fmla="*/ 5 h 117"/>
                  <a:gd name="T28" fmla="*/ 63 w 245"/>
                  <a:gd name="T29" fmla="*/ 8 h 117"/>
                  <a:gd name="T30" fmla="*/ 115 w 245"/>
                  <a:gd name="T31" fmla="*/ 22 h 117"/>
                  <a:gd name="T32" fmla="*/ 160 w 245"/>
                  <a:gd name="T33" fmla="*/ 47 h 117"/>
                  <a:gd name="T34" fmla="*/ 205 w 245"/>
                  <a:gd name="T35" fmla="*/ 79 h 117"/>
                  <a:gd name="T36" fmla="*/ 242 w 245"/>
                  <a:gd name="T37" fmla="*/ 106 h 117"/>
                  <a:gd name="T38" fmla="*/ 244 w 245"/>
                  <a:gd name="T39" fmla="*/ 108 h 117"/>
                  <a:gd name="T40" fmla="*/ 245 w 245"/>
                  <a:gd name="T41" fmla="*/ 110 h 117"/>
                  <a:gd name="T42" fmla="*/ 244 w 245"/>
                  <a:gd name="T43" fmla="*/ 111 h 117"/>
                  <a:gd name="T44" fmla="*/ 232 w 245"/>
                  <a:gd name="T45" fmla="*/ 117 h 117"/>
                  <a:gd name="T46" fmla="*/ 231 w 245"/>
                  <a:gd name="T47" fmla="*/ 117 h 117"/>
                  <a:gd name="T48" fmla="*/ 4 w 245"/>
                  <a:gd name="T49" fmla="*/ 12 h 117"/>
                  <a:gd name="T50" fmla="*/ 35 w 245"/>
                  <a:gd name="T51" fmla="*/ 16 h 117"/>
                  <a:gd name="T52" fmla="*/ 47 w 245"/>
                  <a:gd name="T53" fmla="*/ 17 h 117"/>
                  <a:gd name="T54" fmla="*/ 98 w 245"/>
                  <a:gd name="T55" fmla="*/ 27 h 117"/>
                  <a:gd name="T56" fmla="*/ 188 w 245"/>
                  <a:gd name="T57" fmla="*/ 79 h 117"/>
                  <a:gd name="T58" fmla="*/ 206 w 245"/>
                  <a:gd name="T59" fmla="*/ 93 h 117"/>
                  <a:gd name="T60" fmla="*/ 231 w 245"/>
                  <a:gd name="T61" fmla="*/ 112 h 117"/>
                  <a:gd name="T62" fmla="*/ 231 w 245"/>
                  <a:gd name="T63" fmla="*/ 113 h 117"/>
                  <a:gd name="T64" fmla="*/ 239 w 245"/>
                  <a:gd name="T65" fmla="*/ 109 h 117"/>
                  <a:gd name="T66" fmla="*/ 202 w 245"/>
                  <a:gd name="T67" fmla="*/ 82 h 117"/>
                  <a:gd name="T68" fmla="*/ 158 w 245"/>
                  <a:gd name="T69" fmla="*/ 50 h 117"/>
                  <a:gd name="T70" fmla="*/ 114 w 245"/>
                  <a:gd name="T71" fmla="*/ 26 h 117"/>
                  <a:gd name="T72" fmla="*/ 63 w 245"/>
                  <a:gd name="T73" fmla="*/ 12 h 117"/>
                  <a:gd name="T74" fmla="*/ 39 w 245"/>
                  <a:gd name="T75" fmla="*/ 9 h 117"/>
                  <a:gd name="T76" fmla="*/ 4 w 245"/>
                  <a:gd name="T77" fmla="*/ 4 h 117"/>
                  <a:gd name="T78" fmla="*/ 4 w 245"/>
                  <a:gd name="T79" fmla="*/ 1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45" h="117">
                    <a:moveTo>
                      <a:pt x="231" y="117"/>
                    </a:moveTo>
                    <a:cubicBezTo>
                      <a:pt x="231" y="117"/>
                      <a:pt x="230" y="117"/>
                      <a:pt x="230" y="116"/>
                    </a:cubicBezTo>
                    <a:cubicBezTo>
                      <a:pt x="229" y="115"/>
                      <a:pt x="229" y="115"/>
                      <a:pt x="229" y="115"/>
                    </a:cubicBezTo>
                    <a:cubicBezTo>
                      <a:pt x="220" y="109"/>
                      <a:pt x="212" y="102"/>
                      <a:pt x="203" y="96"/>
                    </a:cubicBezTo>
                    <a:cubicBezTo>
                      <a:pt x="198" y="91"/>
                      <a:pt x="192" y="86"/>
                      <a:pt x="186" y="82"/>
                    </a:cubicBezTo>
                    <a:cubicBezTo>
                      <a:pt x="159" y="61"/>
                      <a:pt x="130" y="41"/>
                      <a:pt x="97" y="31"/>
                    </a:cubicBezTo>
                    <a:cubicBezTo>
                      <a:pt x="83" y="27"/>
                      <a:pt x="67" y="24"/>
                      <a:pt x="47" y="21"/>
                    </a:cubicBezTo>
                    <a:cubicBezTo>
                      <a:pt x="43" y="21"/>
                      <a:pt x="39" y="20"/>
                      <a:pt x="35" y="20"/>
                    </a:cubicBezTo>
                    <a:cubicBezTo>
                      <a:pt x="24" y="19"/>
                      <a:pt x="13" y="18"/>
                      <a:pt x="2" y="16"/>
                    </a:cubicBezTo>
                    <a:cubicBezTo>
                      <a:pt x="1" y="15"/>
                      <a:pt x="0" y="15"/>
                      <a:pt x="0" y="14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14" y="2"/>
                      <a:pt x="27" y="4"/>
                      <a:pt x="39" y="5"/>
                    </a:cubicBezTo>
                    <a:cubicBezTo>
                      <a:pt x="47" y="6"/>
                      <a:pt x="55" y="7"/>
                      <a:pt x="63" y="8"/>
                    </a:cubicBezTo>
                    <a:cubicBezTo>
                      <a:pt x="83" y="11"/>
                      <a:pt x="100" y="16"/>
                      <a:pt x="115" y="22"/>
                    </a:cubicBezTo>
                    <a:cubicBezTo>
                      <a:pt x="129" y="28"/>
                      <a:pt x="144" y="36"/>
                      <a:pt x="160" y="47"/>
                    </a:cubicBezTo>
                    <a:cubicBezTo>
                      <a:pt x="176" y="57"/>
                      <a:pt x="191" y="68"/>
                      <a:pt x="205" y="79"/>
                    </a:cubicBezTo>
                    <a:cubicBezTo>
                      <a:pt x="217" y="88"/>
                      <a:pt x="229" y="98"/>
                      <a:pt x="242" y="106"/>
                    </a:cubicBezTo>
                    <a:cubicBezTo>
                      <a:pt x="244" y="108"/>
                      <a:pt x="244" y="108"/>
                      <a:pt x="244" y="108"/>
                    </a:cubicBezTo>
                    <a:cubicBezTo>
                      <a:pt x="244" y="108"/>
                      <a:pt x="245" y="109"/>
                      <a:pt x="245" y="110"/>
                    </a:cubicBezTo>
                    <a:cubicBezTo>
                      <a:pt x="245" y="110"/>
                      <a:pt x="244" y="111"/>
                      <a:pt x="244" y="111"/>
                    </a:cubicBezTo>
                    <a:cubicBezTo>
                      <a:pt x="232" y="117"/>
                      <a:pt x="232" y="117"/>
                      <a:pt x="232" y="117"/>
                    </a:cubicBezTo>
                    <a:cubicBezTo>
                      <a:pt x="232" y="117"/>
                      <a:pt x="231" y="117"/>
                      <a:pt x="231" y="117"/>
                    </a:cubicBezTo>
                    <a:close/>
                    <a:moveTo>
                      <a:pt x="4" y="12"/>
                    </a:moveTo>
                    <a:cubicBezTo>
                      <a:pt x="14" y="14"/>
                      <a:pt x="25" y="15"/>
                      <a:pt x="35" y="16"/>
                    </a:cubicBezTo>
                    <a:cubicBezTo>
                      <a:pt x="39" y="16"/>
                      <a:pt x="43" y="17"/>
                      <a:pt x="47" y="17"/>
                    </a:cubicBezTo>
                    <a:cubicBezTo>
                      <a:pt x="68" y="20"/>
                      <a:pt x="84" y="23"/>
                      <a:pt x="98" y="27"/>
                    </a:cubicBezTo>
                    <a:cubicBezTo>
                      <a:pt x="132" y="37"/>
                      <a:pt x="161" y="58"/>
                      <a:pt x="188" y="79"/>
                    </a:cubicBezTo>
                    <a:cubicBezTo>
                      <a:pt x="194" y="83"/>
                      <a:pt x="200" y="88"/>
                      <a:pt x="206" y="93"/>
                    </a:cubicBezTo>
                    <a:cubicBezTo>
                      <a:pt x="214" y="99"/>
                      <a:pt x="223" y="106"/>
                      <a:pt x="231" y="112"/>
                    </a:cubicBezTo>
                    <a:cubicBezTo>
                      <a:pt x="231" y="113"/>
                      <a:pt x="231" y="113"/>
                      <a:pt x="231" y="113"/>
                    </a:cubicBezTo>
                    <a:cubicBezTo>
                      <a:pt x="239" y="109"/>
                      <a:pt x="239" y="109"/>
                      <a:pt x="239" y="109"/>
                    </a:cubicBezTo>
                    <a:cubicBezTo>
                      <a:pt x="226" y="101"/>
                      <a:pt x="214" y="91"/>
                      <a:pt x="202" y="82"/>
                    </a:cubicBezTo>
                    <a:cubicBezTo>
                      <a:pt x="188" y="71"/>
                      <a:pt x="173" y="60"/>
                      <a:pt x="158" y="50"/>
                    </a:cubicBezTo>
                    <a:cubicBezTo>
                      <a:pt x="142" y="39"/>
                      <a:pt x="128" y="31"/>
                      <a:pt x="114" y="26"/>
                    </a:cubicBezTo>
                    <a:cubicBezTo>
                      <a:pt x="99" y="20"/>
                      <a:pt x="82" y="15"/>
                      <a:pt x="63" y="12"/>
                    </a:cubicBezTo>
                    <a:cubicBezTo>
                      <a:pt x="55" y="11"/>
                      <a:pt x="46" y="10"/>
                      <a:pt x="39" y="9"/>
                    </a:cubicBezTo>
                    <a:cubicBezTo>
                      <a:pt x="27" y="8"/>
                      <a:pt x="15" y="6"/>
                      <a:pt x="4" y="4"/>
                    </a:cubicBezTo>
                    <a:lnTo>
                      <a:pt x="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95"/>
              <p:cNvSpPr>
                <a:spLocks noEditPoints="1"/>
              </p:cNvSpPr>
              <p:nvPr/>
            </p:nvSpPr>
            <p:spPr bwMode="gray">
              <a:xfrm>
                <a:off x="3937" y="2140"/>
                <a:ext cx="190" cy="121"/>
              </a:xfrm>
              <a:custGeom>
                <a:avLst/>
                <a:gdLst>
                  <a:gd name="T0" fmla="*/ 78 w 80"/>
                  <a:gd name="T1" fmla="*/ 51 h 51"/>
                  <a:gd name="T2" fmla="*/ 77 w 80"/>
                  <a:gd name="T3" fmla="*/ 51 h 51"/>
                  <a:gd name="T4" fmla="*/ 76 w 80"/>
                  <a:gd name="T5" fmla="*/ 50 h 51"/>
                  <a:gd name="T6" fmla="*/ 7 w 80"/>
                  <a:gd name="T7" fmla="*/ 19 h 51"/>
                  <a:gd name="T8" fmla="*/ 7 w 80"/>
                  <a:gd name="T9" fmla="*/ 19 h 51"/>
                  <a:gd name="T10" fmla="*/ 1 w 80"/>
                  <a:gd name="T11" fmla="*/ 16 h 51"/>
                  <a:gd name="T12" fmla="*/ 0 w 80"/>
                  <a:gd name="T13" fmla="*/ 14 h 51"/>
                  <a:gd name="T14" fmla="*/ 0 w 80"/>
                  <a:gd name="T15" fmla="*/ 3 h 51"/>
                  <a:gd name="T16" fmla="*/ 0 w 80"/>
                  <a:gd name="T17" fmla="*/ 1 h 51"/>
                  <a:gd name="T18" fmla="*/ 2 w 80"/>
                  <a:gd name="T19" fmla="*/ 1 h 51"/>
                  <a:gd name="T20" fmla="*/ 79 w 80"/>
                  <a:gd name="T21" fmla="*/ 35 h 51"/>
                  <a:gd name="T22" fmla="*/ 80 w 80"/>
                  <a:gd name="T23" fmla="*/ 37 h 51"/>
                  <a:gd name="T24" fmla="*/ 80 w 80"/>
                  <a:gd name="T25" fmla="*/ 49 h 51"/>
                  <a:gd name="T26" fmla="*/ 79 w 80"/>
                  <a:gd name="T27" fmla="*/ 51 h 51"/>
                  <a:gd name="T28" fmla="*/ 78 w 80"/>
                  <a:gd name="T29" fmla="*/ 51 h 51"/>
                  <a:gd name="T30" fmla="*/ 8 w 80"/>
                  <a:gd name="T31" fmla="*/ 15 h 51"/>
                  <a:gd name="T32" fmla="*/ 8 w 80"/>
                  <a:gd name="T33" fmla="*/ 15 h 51"/>
                  <a:gd name="T34" fmla="*/ 76 w 80"/>
                  <a:gd name="T35" fmla="*/ 45 h 51"/>
                  <a:gd name="T36" fmla="*/ 76 w 80"/>
                  <a:gd name="T37" fmla="*/ 38 h 51"/>
                  <a:gd name="T38" fmla="*/ 4 w 80"/>
                  <a:gd name="T39" fmla="*/ 6 h 51"/>
                  <a:gd name="T40" fmla="*/ 4 w 80"/>
                  <a:gd name="T41" fmla="*/ 13 h 51"/>
                  <a:gd name="T42" fmla="*/ 8 w 80"/>
                  <a:gd name="T43" fmla="*/ 15 h 51"/>
                  <a:gd name="T44" fmla="*/ 8 w 80"/>
                  <a:gd name="T45" fmla="*/ 1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0" h="51">
                    <a:moveTo>
                      <a:pt x="78" y="51"/>
                    </a:moveTo>
                    <a:cubicBezTo>
                      <a:pt x="78" y="51"/>
                      <a:pt x="77" y="51"/>
                      <a:pt x="77" y="51"/>
                    </a:cubicBezTo>
                    <a:cubicBezTo>
                      <a:pt x="77" y="51"/>
                      <a:pt x="76" y="50"/>
                      <a:pt x="76" y="50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0" y="16"/>
                      <a:pt x="0" y="15"/>
                      <a:pt x="0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79" y="35"/>
                      <a:pt x="79" y="35"/>
                      <a:pt x="79" y="35"/>
                    </a:cubicBezTo>
                    <a:cubicBezTo>
                      <a:pt x="79" y="35"/>
                      <a:pt x="80" y="36"/>
                      <a:pt x="80" y="37"/>
                    </a:cubicBezTo>
                    <a:cubicBezTo>
                      <a:pt x="80" y="49"/>
                      <a:pt x="80" y="49"/>
                      <a:pt x="80" y="49"/>
                    </a:cubicBezTo>
                    <a:cubicBezTo>
                      <a:pt x="80" y="50"/>
                      <a:pt x="80" y="50"/>
                      <a:pt x="79" y="51"/>
                    </a:cubicBezTo>
                    <a:cubicBezTo>
                      <a:pt x="79" y="51"/>
                      <a:pt x="78" y="51"/>
                      <a:pt x="78" y="51"/>
                    </a:cubicBezTo>
                    <a:close/>
                    <a:moveTo>
                      <a:pt x="8" y="15"/>
                    </a:moveTo>
                    <a:cubicBezTo>
                      <a:pt x="8" y="15"/>
                      <a:pt x="8" y="15"/>
                      <a:pt x="8" y="15"/>
                    </a:cubicBezTo>
                    <a:cubicBezTo>
                      <a:pt x="76" y="45"/>
                      <a:pt x="76" y="45"/>
                      <a:pt x="76" y="45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5"/>
                      <a:pt x="8" y="15"/>
                      <a:pt x="8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96"/>
              <p:cNvSpPr>
                <a:spLocks noEditPoints="1"/>
              </p:cNvSpPr>
              <p:nvPr/>
            </p:nvSpPr>
            <p:spPr bwMode="gray">
              <a:xfrm>
                <a:off x="3949" y="2396"/>
                <a:ext cx="178" cy="257"/>
              </a:xfrm>
              <a:custGeom>
                <a:avLst/>
                <a:gdLst>
                  <a:gd name="T0" fmla="*/ 73 w 75"/>
                  <a:gd name="T1" fmla="*/ 108 h 108"/>
                  <a:gd name="T2" fmla="*/ 72 w 75"/>
                  <a:gd name="T3" fmla="*/ 108 h 108"/>
                  <a:gd name="T4" fmla="*/ 2 w 75"/>
                  <a:gd name="T5" fmla="*/ 77 h 108"/>
                  <a:gd name="T6" fmla="*/ 0 w 75"/>
                  <a:gd name="T7" fmla="*/ 75 h 108"/>
                  <a:gd name="T8" fmla="*/ 0 w 75"/>
                  <a:gd name="T9" fmla="*/ 2 h 108"/>
                  <a:gd name="T10" fmla="*/ 1 w 75"/>
                  <a:gd name="T11" fmla="*/ 0 h 108"/>
                  <a:gd name="T12" fmla="*/ 3 w 75"/>
                  <a:gd name="T13" fmla="*/ 0 h 108"/>
                  <a:gd name="T14" fmla="*/ 74 w 75"/>
                  <a:gd name="T15" fmla="*/ 32 h 108"/>
                  <a:gd name="T16" fmla="*/ 75 w 75"/>
                  <a:gd name="T17" fmla="*/ 34 h 108"/>
                  <a:gd name="T18" fmla="*/ 75 w 75"/>
                  <a:gd name="T19" fmla="*/ 106 h 108"/>
                  <a:gd name="T20" fmla="*/ 74 w 75"/>
                  <a:gd name="T21" fmla="*/ 108 h 108"/>
                  <a:gd name="T22" fmla="*/ 73 w 75"/>
                  <a:gd name="T23" fmla="*/ 108 h 108"/>
                  <a:gd name="T24" fmla="*/ 4 w 75"/>
                  <a:gd name="T25" fmla="*/ 73 h 108"/>
                  <a:gd name="T26" fmla="*/ 71 w 75"/>
                  <a:gd name="T27" fmla="*/ 103 h 108"/>
                  <a:gd name="T28" fmla="*/ 71 w 75"/>
                  <a:gd name="T29" fmla="*/ 35 h 108"/>
                  <a:gd name="T30" fmla="*/ 4 w 75"/>
                  <a:gd name="T31" fmla="*/ 5 h 108"/>
                  <a:gd name="T32" fmla="*/ 4 w 75"/>
                  <a:gd name="T33" fmla="*/ 73 h 108"/>
                  <a:gd name="T34" fmla="*/ 49 w 75"/>
                  <a:gd name="T35" fmla="*/ 77 h 108"/>
                  <a:gd name="T36" fmla="*/ 48 w 75"/>
                  <a:gd name="T37" fmla="*/ 77 h 108"/>
                  <a:gd name="T38" fmla="*/ 21 w 75"/>
                  <a:gd name="T39" fmla="*/ 65 h 108"/>
                  <a:gd name="T40" fmla="*/ 20 w 75"/>
                  <a:gd name="T41" fmla="*/ 63 h 108"/>
                  <a:gd name="T42" fmla="*/ 20 w 75"/>
                  <a:gd name="T43" fmla="*/ 26 h 108"/>
                  <a:gd name="T44" fmla="*/ 20 w 75"/>
                  <a:gd name="T45" fmla="*/ 25 h 108"/>
                  <a:gd name="T46" fmla="*/ 22 w 75"/>
                  <a:gd name="T47" fmla="*/ 24 h 108"/>
                  <a:gd name="T48" fmla="*/ 36 w 75"/>
                  <a:gd name="T49" fmla="*/ 29 h 108"/>
                  <a:gd name="T50" fmla="*/ 50 w 75"/>
                  <a:gd name="T51" fmla="*/ 37 h 108"/>
                  <a:gd name="T52" fmla="*/ 51 w 75"/>
                  <a:gd name="T53" fmla="*/ 39 h 108"/>
                  <a:gd name="T54" fmla="*/ 51 w 75"/>
                  <a:gd name="T55" fmla="*/ 75 h 108"/>
                  <a:gd name="T56" fmla="*/ 50 w 75"/>
                  <a:gd name="T57" fmla="*/ 77 h 108"/>
                  <a:gd name="T58" fmla="*/ 49 w 75"/>
                  <a:gd name="T59" fmla="*/ 77 h 108"/>
                  <a:gd name="T60" fmla="*/ 24 w 75"/>
                  <a:gd name="T61" fmla="*/ 62 h 108"/>
                  <a:gd name="T62" fmla="*/ 47 w 75"/>
                  <a:gd name="T63" fmla="*/ 72 h 108"/>
                  <a:gd name="T64" fmla="*/ 47 w 75"/>
                  <a:gd name="T65" fmla="*/ 40 h 108"/>
                  <a:gd name="T66" fmla="*/ 35 w 75"/>
                  <a:gd name="T67" fmla="*/ 33 h 108"/>
                  <a:gd name="T68" fmla="*/ 24 w 75"/>
                  <a:gd name="T69" fmla="*/ 29 h 108"/>
                  <a:gd name="T70" fmla="*/ 24 w 75"/>
                  <a:gd name="T71" fmla="*/ 6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5" h="108">
                    <a:moveTo>
                      <a:pt x="73" y="108"/>
                    </a:moveTo>
                    <a:cubicBezTo>
                      <a:pt x="73" y="108"/>
                      <a:pt x="72" y="108"/>
                      <a:pt x="72" y="108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1" y="76"/>
                      <a:pt x="0" y="76"/>
                      <a:pt x="0" y="7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74" y="32"/>
                      <a:pt x="74" y="32"/>
                      <a:pt x="74" y="32"/>
                    </a:cubicBezTo>
                    <a:cubicBezTo>
                      <a:pt x="74" y="32"/>
                      <a:pt x="75" y="33"/>
                      <a:pt x="75" y="34"/>
                    </a:cubicBezTo>
                    <a:cubicBezTo>
                      <a:pt x="75" y="106"/>
                      <a:pt x="75" y="106"/>
                      <a:pt x="75" y="106"/>
                    </a:cubicBezTo>
                    <a:cubicBezTo>
                      <a:pt x="75" y="107"/>
                      <a:pt x="75" y="107"/>
                      <a:pt x="74" y="108"/>
                    </a:cubicBezTo>
                    <a:cubicBezTo>
                      <a:pt x="74" y="108"/>
                      <a:pt x="73" y="108"/>
                      <a:pt x="73" y="108"/>
                    </a:cubicBezTo>
                    <a:close/>
                    <a:moveTo>
                      <a:pt x="4" y="73"/>
                    </a:moveTo>
                    <a:cubicBezTo>
                      <a:pt x="71" y="103"/>
                      <a:pt x="71" y="103"/>
                      <a:pt x="71" y="103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73"/>
                    </a:lnTo>
                    <a:close/>
                    <a:moveTo>
                      <a:pt x="49" y="77"/>
                    </a:moveTo>
                    <a:cubicBezTo>
                      <a:pt x="49" y="77"/>
                      <a:pt x="49" y="77"/>
                      <a:pt x="48" y="77"/>
                    </a:cubicBezTo>
                    <a:cubicBezTo>
                      <a:pt x="21" y="65"/>
                      <a:pt x="21" y="65"/>
                      <a:pt x="21" y="65"/>
                    </a:cubicBezTo>
                    <a:cubicBezTo>
                      <a:pt x="20" y="64"/>
                      <a:pt x="20" y="64"/>
                      <a:pt x="20" y="63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0" y="26"/>
                      <a:pt x="20" y="25"/>
                      <a:pt x="20" y="25"/>
                    </a:cubicBezTo>
                    <a:cubicBezTo>
                      <a:pt x="21" y="24"/>
                      <a:pt x="22" y="24"/>
                      <a:pt x="22" y="24"/>
                    </a:cubicBezTo>
                    <a:cubicBezTo>
                      <a:pt x="26" y="25"/>
                      <a:pt x="31" y="27"/>
                      <a:pt x="36" y="29"/>
                    </a:cubicBezTo>
                    <a:cubicBezTo>
                      <a:pt x="41" y="31"/>
                      <a:pt x="46" y="34"/>
                      <a:pt x="50" y="37"/>
                    </a:cubicBezTo>
                    <a:cubicBezTo>
                      <a:pt x="51" y="37"/>
                      <a:pt x="51" y="38"/>
                      <a:pt x="51" y="39"/>
                    </a:cubicBezTo>
                    <a:cubicBezTo>
                      <a:pt x="51" y="75"/>
                      <a:pt x="51" y="75"/>
                      <a:pt x="51" y="75"/>
                    </a:cubicBezTo>
                    <a:cubicBezTo>
                      <a:pt x="51" y="76"/>
                      <a:pt x="51" y="77"/>
                      <a:pt x="50" y="77"/>
                    </a:cubicBezTo>
                    <a:cubicBezTo>
                      <a:pt x="50" y="77"/>
                      <a:pt x="50" y="77"/>
                      <a:pt x="49" y="77"/>
                    </a:cubicBezTo>
                    <a:close/>
                    <a:moveTo>
                      <a:pt x="24" y="62"/>
                    </a:moveTo>
                    <a:cubicBezTo>
                      <a:pt x="47" y="72"/>
                      <a:pt x="47" y="72"/>
                      <a:pt x="47" y="72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43" y="37"/>
                      <a:pt x="39" y="35"/>
                      <a:pt x="35" y="33"/>
                    </a:cubicBezTo>
                    <a:cubicBezTo>
                      <a:pt x="31" y="31"/>
                      <a:pt x="27" y="30"/>
                      <a:pt x="24" y="29"/>
                    </a:cubicBezTo>
                    <a:lnTo>
                      <a:pt x="24" y="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97"/>
              <p:cNvSpPr>
                <a:spLocks noEditPoints="1"/>
              </p:cNvSpPr>
              <p:nvPr/>
            </p:nvSpPr>
            <p:spPr bwMode="gray">
              <a:xfrm>
                <a:off x="3949" y="2175"/>
                <a:ext cx="178" cy="276"/>
              </a:xfrm>
              <a:custGeom>
                <a:avLst/>
                <a:gdLst>
                  <a:gd name="T0" fmla="*/ 73 w 75"/>
                  <a:gd name="T1" fmla="*/ 116 h 116"/>
                  <a:gd name="T2" fmla="*/ 72 w 75"/>
                  <a:gd name="T3" fmla="*/ 116 h 116"/>
                  <a:gd name="T4" fmla="*/ 2 w 75"/>
                  <a:gd name="T5" fmla="*/ 84 h 116"/>
                  <a:gd name="T6" fmla="*/ 0 w 75"/>
                  <a:gd name="T7" fmla="*/ 82 h 116"/>
                  <a:gd name="T8" fmla="*/ 0 w 75"/>
                  <a:gd name="T9" fmla="*/ 82 h 116"/>
                  <a:gd name="T10" fmla="*/ 0 w 75"/>
                  <a:gd name="T11" fmla="*/ 82 h 116"/>
                  <a:gd name="T12" fmla="*/ 0 w 75"/>
                  <a:gd name="T13" fmla="*/ 2 h 116"/>
                  <a:gd name="T14" fmla="*/ 1 w 75"/>
                  <a:gd name="T15" fmla="*/ 0 h 116"/>
                  <a:gd name="T16" fmla="*/ 3 w 75"/>
                  <a:gd name="T17" fmla="*/ 0 h 116"/>
                  <a:gd name="T18" fmla="*/ 74 w 75"/>
                  <a:gd name="T19" fmla="*/ 31 h 116"/>
                  <a:gd name="T20" fmla="*/ 75 w 75"/>
                  <a:gd name="T21" fmla="*/ 33 h 116"/>
                  <a:gd name="T22" fmla="*/ 75 w 75"/>
                  <a:gd name="T23" fmla="*/ 114 h 116"/>
                  <a:gd name="T24" fmla="*/ 74 w 75"/>
                  <a:gd name="T25" fmla="*/ 116 h 116"/>
                  <a:gd name="T26" fmla="*/ 73 w 75"/>
                  <a:gd name="T27" fmla="*/ 116 h 116"/>
                  <a:gd name="T28" fmla="*/ 4 w 75"/>
                  <a:gd name="T29" fmla="*/ 81 h 116"/>
                  <a:gd name="T30" fmla="*/ 71 w 75"/>
                  <a:gd name="T31" fmla="*/ 111 h 116"/>
                  <a:gd name="T32" fmla="*/ 71 w 75"/>
                  <a:gd name="T33" fmla="*/ 35 h 116"/>
                  <a:gd name="T34" fmla="*/ 4 w 75"/>
                  <a:gd name="T35" fmla="*/ 5 h 116"/>
                  <a:gd name="T36" fmla="*/ 4 w 75"/>
                  <a:gd name="T37" fmla="*/ 81 h 116"/>
                  <a:gd name="T38" fmla="*/ 49 w 75"/>
                  <a:gd name="T39" fmla="*/ 85 h 116"/>
                  <a:gd name="T40" fmla="*/ 48 w 75"/>
                  <a:gd name="T41" fmla="*/ 85 h 116"/>
                  <a:gd name="T42" fmla="*/ 21 w 75"/>
                  <a:gd name="T43" fmla="*/ 73 h 116"/>
                  <a:gd name="T44" fmla="*/ 20 w 75"/>
                  <a:gd name="T45" fmla="*/ 71 h 116"/>
                  <a:gd name="T46" fmla="*/ 20 w 75"/>
                  <a:gd name="T47" fmla="*/ 34 h 116"/>
                  <a:gd name="T48" fmla="*/ 20 w 75"/>
                  <a:gd name="T49" fmla="*/ 33 h 116"/>
                  <a:gd name="T50" fmla="*/ 22 w 75"/>
                  <a:gd name="T51" fmla="*/ 32 h 116"/>
                  <a:gd name="T52" fmla="*/ 36 w 75"/>
                  <a:gd name="T53" fmla="*/ 37 h 116"/>
                  <a:gd name="T54" fmla="*/ 50 w 75"/>
                  <a:gd name="T55" fmla="*/ 45 h 116"/>
                  <a:gd name="T56" fmla="*/ 51 w 75"/>
                  <a:gd name="T57" fmla="*/ 46 h 116"/>
                  <a:gd name="T58" fmla="*/ 51 w 75"/>
                  <a:gd name="T59" fmla="*/ 83 h 116"/>
                  <a:gd name="T60" fmla="*/ 50 w 75"/>
                  <a:gd name="T61" fmla="*/ 85 h 116"/>
                  <a:gd name="T62" fmla="*/ 49 w 75"/>
                  <a:gd name="T63" fmla="*/ 85 h 116"/>
                  <a:gd name="T64" fmla="*/ 24 w 75"/>
                  <a:gd name="T65" fmla="*/ 69 h 116"/>
                  <a:gd name="T66" fmla="*/ 47 w 75"/>
                  <a:gd name="T67" fmla="*/ 80 h 116"/>
                  <a:gd name="T68" fmla="*/ 47 w 75"/>
                  <a:gd name="T69" fmla="*/ 48 h 116"/>
                  <a:gd name="T70" fmla="*/ 35 w 75"/>
                  <a:gd name="T71" fmla="*/ 41 h 116"/>
                  <a:gd name="T72" fmla="*/ 24 w 75"/>
                  <a:gd name="T73" fmla="*/ 37 h 116"/>
                  <a:gd name="T74" fmla="*/ 24 w 75"/>
                  <a:gd name="T75" fmla="*/ 6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5" h="116">
                    <a:moveTo>
                      <a:pt x="73" y="116"/>
                    </a:moveTo>
                    <a:cubicBezTo>
                      <a:pt x="73" y="116"/>
                      <a:pt x="72" y="116"/>
                      <a:pt x="72" y="116"/>
                    </a:cubicBezTo>
                    <a:cubicBezTo>
                      <a:pt x="2" y="84"/>
                      <a:pt x="2" y="84"/>
                      <a:pt x="2" y="84"/>
                    </a:cubicBezTo>
                    <a:cubicBezTo>
                      <a:pt x="1" y="84"/>
                      <a:pt x="0" y="83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74" y="31"/>
                      <a:pt x="74" y="31"/>
                      <a:pt x="74" y="31"/>
                    </a:cubicBezTo>
                    <a:cubicBezTo>
                      <a:pt x="74" y="32"/>
                      <a:pt x="75" y="33"/>
                      <a:pt x="75" y="33"/>
                    </a:cubicBezTo>
                    <a:cubicBezTo>
                      <a:pt x="75" y="114"/>
                      <a:pt x="75" y="114"/>
                      <a:pt x="75" y="114"/>
                    </a:cubicBezTo>
                    <a:cubicBezTo>
                      <a:pt x="75" y="115"/>
                      <a:pt x="75" y="115"/>
                      <a:pt x="74" y="116"/>
                    </a:cubicBezTo>
                    <a:cubicBezTo>
                      <a:pt x="74" y="116"/>
                      <a:pt x="73" y="116"/>
                      <a:pt x="73" y="116"/>
                    </a:cubicBezTo>
                    <a:close/>
                    <a:moveTo>
                      <a:pt x="4" y="81"/>
                    </a:moveTo>
                    <a:cubicBezTo>
                      <a:pt x="71" y="111"/>
                      <a:pt x="71" y="111"/>
                      <a:pt x="71" y="111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81"/>
                    </a:lnTo>
                    <a:close/>
                    <a:moveTo>
                      <a:pt x="49" y="85"/>
                    </a:moveTo>
                    <a:cubicBezTo>
                      <a:pt x="49" y="85"/>
                      <a:pt x="49" y="85"/>
                      <a:pt x="48" y="85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20" y="72"/>
                      <a:pt x="20" y="72"/>
                      <a:pt x="20" y="71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1" y="32"/>
                      <a:pt x="22" y="32"/>
                      <a:pt x="22" y="32"/>
                    </a:cubicBezTo>
                    <a:cubicBezTo>
                      <a:pt x="26" y="33"/>
                      <a:pt x="31" y="35"/>
                      <a:pt x="36" y="37"/>
                    </a:cubicBezTo>
                    <a:cubicBezTo>
                      <a:pt x="41" y="39"/>
                      <a:pt x="46" y="42"/>
                      <a:pt x="50" y="45"/>
                    </a:cubicBezTo>
                    <a:cubicBezTo>
                      <a:pt x="51" y="45"/>
                      <a:pt x="51" y="46"/>
                      <a:pt x="51" y="46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51" y="84"/>
                      <a:pt x="51" y="84"/>
                      <a:pt x="50" y="85"/>
                    </a:cubicBezTo>
                    <a:cubicBezTo>
                      <a:pt x="50" y="85"/>
                      <a:pt x="50" y="85"/>
                      <a:pt x="49" y="85"/>
                    </a:cubicBezTo>
                    <a:close/>
                    <a:moveTo>
                      <a:pt x="24" y="69"/>
                    </a:moveTo>
                    <a:cubicBezTo>
                      <a:pt x="47" y="80"/>
                      <a:pt x="47" y="80"/>
                      <a:pt x="47" y="80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3" y="45"/>
                      <a:pt x="39" y="43"/>
                      <a:pt x="35" y="41"/>
                    </a:cubicBezTo>
                    <a:cubicBezTo>
                      <a:pt x="31" y="39"/>
                      <a:pt x="27" y="37"/>
                      <a:pt x="24" y="37"/>
                    </a:cubicBezTo>
                    <a:lnTo>
                      <a:pt x="2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98"/>
              <p:cNvSpPr>
                <a:spLocks noEditPoints="1"/>
              </p:cNvSpPr>
              <p:nvPr/>
            </p:nvSpPr>
            <p:spPr bwMode="gray">
              <a:xfrm>
                <a:off x="3997" y="2252"/>
                <a:ext cx="73" cy="125"/>
              </a:xfrm>
              <a:custGeom>
                <a:avLst/>
                <a:gdLst>
                  <a:gd name="T0" fmla="*/ 29 w 31"/>
                  <a:gd name="T1" fmla="*/ 53 h 53"/>
                  <a:gd name="T2" fmla="*/ 28 w 31"/>
                  <a:gd name="T3" fmla="*/ 53 h 53"/>
                  <a:gd name="T4" fmla="*/ 1 w 31"/>
                  <a:gd name="T5" fmla="*/ 41 h 53"/>
                  <a:gd name="T6" fmla="*/ 0 w 31"/>
                  <a:gd name="T7" fmla="*/ 39 h 53"/>
                  <a:gd name="T8" fmla="*/ 0 w 31"/>
                  <a:gd name="T9" fmla="*/ 2 h 53"/>
                  <a:gd name="T10" fmla="*/ 0 w 31"/>
                  <a:gd name="T11" fmla="*/ 1 h 53"/>
                  <a:gd name="T12" fmla="*/ 2 w 31"/>
                  <a:gd name="T13" fmla="*/ 0 h 53"/>
                  <a:gd name="T14" fmla="*/ 16 w 31"/>
                  <a:gd name="T15" fmla="*/ 5 h 53"/>
                  <a:gd name="T16" fmla="*/ 30 w 31"/>
                  <a:gd name="T17" fmla="*/ 13 h 53"/>
                  <a:gd name="T18" fmla="*/ 31 w 31"/>
                  <a:gd name="T19" fmla="*/ 14 h 53"/>
                  <a:gd name="T20" fmla="*/ 31 w 31"/>
                  <a:gd name="T21" fmla="*/ 51 h 53"/>
                  <a:gd name="T22" fmla="*/ 30 w 31"/>
                  <a:gd name="T23" fmla="*/ 53 h 53"/>
                  <a:gd name="T24" fmla="*/ 29 w 31"/>
                  <a:gd name="T25" fmla="*/ 53 h 53"/>
                  <a:gd name="T26" fmla="*/ 4 w 31"/>
                  <a:gd name="T27" fmla="*/ 37 h 53"/>
                  <a:gd name="T28" fmla="*/ 27 w 31"/>
                  <a:gd name="T29" fmla="*/ 48 h 53"/>
                  <a:gd name="T30" fmla="*/ 27 w 31"/>
                  <a:gd name="T31" fmla="*/ 16 h 53"/>
                  <a:gd name="T32" fmla="*/ 15 w 31"/>
                  <a:gd name="T33" fmla="*/ 9 h 53"/>
                  <a:gd name="T34" fmla="*/ 4 w 31"/>
                  <a:gd name="T35" fmla="*/ 5 h 53"/>
                  <a:gd name="T36" fmla="*/ 4 w 31"/>
                  <a:gd name="T37" fmla="*/ 3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3">
                    <a:moveTo>
                      <a:pt x="29" y="53"/>
                    </a:moveTo>
                    <a:cubicBezTo>
                      <a:pt x="29" y="53"/>
                      <a:pt x="29" y="53"/>
                      <a:pt x="28" y="53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0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6" y="1"/>
                      <a:pt x="11" y="3"/>
                      <a:pt x="16" y="5"/>
                    </a:cubicBezTo>
                    <a:cubicBezTo>
                      <a:pt x="21" y="7"/>
                      <a:pt x="26" y="10"/>
                      <a:pt x="30" y="13"/>
                    </a:cubicBezTo>
                    <a:cubicBezTo>
                      <a:pt x="31" y="13"/>
                      <a:pt x="31" y="14"/>
                      <a:pt x="31" y="14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52"/>
                      <a:pt x="31" y="52"/>
                      <a:pt x="30" y="53"/>
                    </a:cubicBezTo>
                    <a:cubicBezTo>
                      <a:pt x="30" y="53"/>
                      <a:pt x="30" y="53"/>
                      <a:pt x="29" y="53"/>
                    </a:cubicBezTo>
                    <a:close/>
                    <a:moveTo>
                      <a:pt x="4" y="37"/>
                    </a:move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3" y="13"/>
                      <a:pt x="19" y="11"/>
                      <a:pt x="15" y="9"/>
                    </a:cubicBezTo>
                    <a:cubicBezTo>
                      <a:pt x="11" y="7"/>
                      <a:pt x="7" y="5"/>
                      <a:pt x="4" y="5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Freeform 99"/>
              <p:cNvSpPr>
                <a:spLocks noEditPoints="1"/>
              </p:cNvSpPr>
              <p:nvPr/>
            </p:nvSpPr>
            <p:spPr bwMode="gray">
              <a:xfrm>
                <a:off x="3997" y="2454"/>
                <a:ext cx="73" cy="125"/>
              </a:xfrm>
              <a:custGeom>
                <a:avLst/>
                <a:gdLst>
                  <a:gd name="T0" fmla="*/ 29 w 31"/>
                  <a:gd name="T1" fmla="*/ 53 h 53"/>
                  <a:gd name="T2" fmla="*/ 28 w 31"/>
                  <a:gd name="T3" fmla="*/ 53 h 53"/>
                  <a:gd name="T4" fmla="*/ 1 w 31"/>
                  <a:gd name="T5" fmla="*/ 41 h 53"/>
                  <a:gd name="T6" fmla="*/ 0 w 31"/>
                  <a:gd name="T7" fmla="*/ 39 h 53"/>
                  <a:gd name="T8" fmla="*/ 0 w 31"/>
                  <a:gd name="T9" fmla="*/ 2 h 53"/>
                  <a:gd name="T10" fmla="*/ 0 w 31"/>
                  <a:gd name="T11" fmla="*/ 1 h 53"/>
                  <a:gd name="T12" fmla="*/ 2 w 31"/>
                  <a:gd name="T13" fmla="*/ 0 h 53"/>
                  <a:gd name="T14" fmla="*/ 16 w 31"/>
                  <a:gd name="T15" fmla="*/ 5 h 53"/>
                  <a:gd name="T16" fmla="*/ 30 w 31"/>
                  <a:gd name="T17" fmla="*/ 13 h 53"/>
                  <a:gd name="T18" fmla="*/ 31 w 31"/>
                  <a:gd name="T19" fmla="*/ 15 h 53"/>
                  <a:gd name="T20" fmla="*/ 31 w 31"/>
                  <a:gd name="T21" fmla="*/ 51 h 53"/>
                  <a:gd name="T22" fmla="*/ 30 w 31"/>
                  <a:gd name="T23" fmla="*/ 53 h 53"/>
                  <a:gd name="T24" fmla="*/ 29 w 31"/>
                  <a:gd name="T25" fmla="*/ 53 h 53"/>
                  <a:gd name="T26" fmla="*/ 4 w 31"/>
                  <a:gd name="T27" fmla="*/ 38 h 53"/>
                  <a:gd name="T28" fmla="*/ 27 w 31"/>
                  <a:gd name="T29" fmla="*/ 48 h 53"/>
                  <a:gd name="T30" fmla="*/ 27 w 31"/>
                  <a:gd name="T31" fmla="*/ 16 h 53"/>
                  <a:gd name="T32" fmla="*/ 15 w 31"/>
                  <a:gd name="T33" fmla="*/ 9 h 53"/>
                  <a:gd name="T34" fmla="*/ 4 w 31"/>
                  <a:gd name="T35" fmla="*/ 5 h 53"/>
                  <a:gd name="T36" fmla="*/ 4 w 31"/>
                  <a:gd name="T37" fmla="*/ 3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3">
                    <a:moveTo>
                      <a:pt x="29" y="53"/>
                    </a:moveTo>
                    <a:cubicBezTo>
                      <a:pt x="29" y="53"/>
                      <a:pt x="29" y="53"/>
                      <a:pt x="28" y="53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40"/>
                      <a:pt x="0" y="40"/>
                      <a:pt x="0" y="3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6" y="1"/>
                      <a:pt x="11" y="3"/>
                      <a:pt x="16" y="5"/>
                    </a:cubicBezTo>
                    <a:cubicBezTo>
                      <a:pt x="21" y="7"/>
                      <a:pt x="26" y="10"/>
                      <a:pt x="30" y="13"/>
                    </a:cubicBezTo>
                    <a:cubicBezTo>
                      <a:pt x="31" y="13"/>
                      <a:pt x="31" y="14"/>
                      <a:pt x="31" y="15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52"/>
                      <a:pt x="31" y="53"/>
                      <a:pt x="30" y="53"/>
                    </a:cubicBezTo>
                    <a:cubicBezTo>
                      <a:pt x="30" y="53"/>
                      <a:pt x="30" y="53"/>
                      <a:pt x="29" y="53"/>
                    </a:cubicBezTo>
                    <a:close/>
                    <a:moveTo>
                      <a:pt x="4" y="38"/>
                    </a:moveTo>
                    <a:cubicBezTo>
                      <a:pt x="27" y="48"/>
                      <a:pt x="27" y="48"/>
                      <a:pt x="27" y="4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3" y="13"/>
                      <a:pt x="19" y="11"/>
                      <a:pt x="15" y="9"/>
                    </a:cubicBezTo>
                    <a:cubicBezTo>
                      <a:pt x="11" y="7"/>
                      <a:pt x="7" y="6"/>
                      <a:pt x="4" y="5"/>
                    </a:cubicBezTo>
                    <a:lnTo>
                      <a:pt x="4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Freeform 100"/>
              <p:cNvSpPr>
                <a:spLocks noEditPoints="1"/>
              </p:cNvSpPr>
              <p:nvPr/>
            </p:nvSpPr>
            <p:spPr bwMode="gray">
              <a:xfrm>
                <a:off x="3184" y="2031"/>
                <a:ext cx="190" cy="111"/>
              </a:xfrm>
              <a:custGeom>
                <a:avLst/>
                <a:gdLst>
                  <a:gd name="T0" fmla="*/ 78 w 80"/>
                  <a:gd name="T1" fmla="*/ 47 h 47"/>
                  <a:gd name="T2" fmla="*/ 77 w 80"/>
                  <a:gd name="T3" fmla="*/ 47 h 47"/>
                  <a:gd name="T4" fmla="*/ 77 w 80"/>
                  <a:gd name="T5" fmla="*/ 47 h 47"/>
                  <a:gd name="T6" fmla="*/ 1 w 80"/>
                  <a:gd name="T7" fmla="*/ 13 h 47"/>
                  <a:gd name="T8" fmla="*/ 0 w 80"/>
                  <a:gd name="T9" fmla="*/ 11 h 47"/>
                  <a:gd name="T10" fmla="*/ 0 w 80"/>
                  <a:gd name="T11" fmla="*/ 2 h 47"/>
                  <a:gd name="T12" fmla="*/ 1 w 80"/>
                  <a:gd name="T13" fmla="*/ 0 h 47"/>
                  <a:gd name="T14" fmla="*/ 2 w 80"/>
                  <a:gd name="T15" fmla="*/ 0 h 47"/>
                  <a:gd name="T16" fmla="*/ 79 w 80"/>
                  <a:gd name="T17" fmla="*/ 34 h 47"/>
                  <a:gd name="T18" fmla="*/ 80 w 80"/>
                  <a:gd name="T19" fmla="*/ 36 h 47"/>
                  <a:gd name="T20" fmla="*/ 80 w 80"/>
                  <a:gd name="T21" fmla="*/ 45 h 47"/>
                  <a:gd name="T22" fmla="*/ 79 w 80"/>
                  <a:gd name="T23" fmla="*/ 47 h 47"/>
                  <a:gd name="T24" fmla="*/ 78 w 80"/>
                  <a:gd name="T25" fmla="*/ 47 h 47"/>
                  <a:gd name="T26" fmla="*/ 4 w 80"/>
                  <a:gd name="T27" fmla="*/ 10 h 47"/>
                  <a:gd name="T28" fmla="*/ 76 w 80"/>
                  <a:gd name="T29" fmla="*/ 42 h 47"/>
                  <a:gd name="T30" fmla="*/ 76 w 80"/>
                  <a:gd name="T31" fmla="*/ 38 h 47"/>
                  <a:gd name="T32" fmla="*/ 4 w 80"/>
                  <a:gd name="T33" fmla="*/ 5 h 47"/>
                  <a:gd name="T34" fmla="*/ 4 w 80"/>
                  <a:gd name="T35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0" h="47">
                    <a:moveTo>
                      <a:pt x="78" y="47"/>
                    </a:moveTo>
                    <a:cubicBezTo>
                      <a:pt x="78" y="47"/>
                      <a:pt x="77" y="47"/>
                      <a:pt x="77" y="47"/>
                    </a:cubicBezTo>
                    <a:cubicBezTo>
                      <a:pt x="77" y="47"/>
                      <a:pt x="77" y="47"/>
                      <a:pt x="77" y="47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0" y="12"/>
                      <a:pt x="0" y="12"/>
                      <a:pt x="0" y="1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79" y="34"/>
                      <a:pt x="79" y="34"/>
                      <a:pt x="79" y="34"/>
                    </a:cubicBezTo>
                    <a:cubicBezTo>
                      <a:pt x="80" y="35"/>
                      <a:pt x="80" y="35"/>
                      <a:pt x="80" y="36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0" y="46"/>
                      <a:pt x="80" y="47"/>
                      <a:pt x="79" y="47"/>
                    </a:cubicBezTo>
                    <a:cubicBezTo>
                      <a:pt x="79" y="47"/>
                      <a:pt x="78" y="47"/>
                      <a:pt x="78" y="47"/>
                    </a:cubicBezTo>
                    <a:close/>
                    <a:moveTo>
                      <a:pt x="4" y="10"/>
                    </a:moveTo>
                    <a:cubicBezTo>
                      <a:pt x="76" y="42"/>
                      <a:pt x="76" y="42"/>
                      <a:pt x="76" y="42"/>
                    </a:cubicBezTo>
                    <a:cubicBezTo>
                      <a:pt x="76" y="38"/>
                      <a:pt x="76" y="38"/>
                      <a:pt x="76" y="38"/>
                    </a:cubicBezTo>
                    <a:cubicBezTo>
                      <a:pt x="4" y="5"/>
                      <a:pt x="4" y="5"/>
                      <a:pt x="4" y="5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Freeform 101"/>
              <p:cNvSpPr>
                <a:spLocks noEditPoints="1"/>
              </p:cNvSpPr>
              <p:nvPr/>
            </p:nvSpPr>
            <p:spPr bwMode="gray">
              <a:xfrm>
                <a:off x="3932" y="2366"/>
                <a:ext cx="195" cy="116"/>
              </a:xfrm>
              <a:custGeom>
                <a:avLst/>
                <a:gdLst>
                  <a:gd name="T0" fmla="*/ 80 w 82"/>
                  <a:gd name="T1" fmla="*/ 49 h 49"/>
                  <a:gd name="T2" fmla="*/ 79 w 82"/>
                  <a:gd name="T3" fmla="*/ 48 h 49"/>
                  <a:gd name="T4" fmla="*/ 1 w 82"/>
                  <a:gd name="T5" fmla="*/ 14 h 49"/>
                  <a:gd name="T6" fmla="*/ 0 w 82"/>
                  <a:gd name="T7" fmla="*/ 12 h 49"/>
                  <a:gd name="T8" fmla="*/ 0 w 82"/>
                  <a:gd name="T9" fmla="*/ 3 h 49"/>
                  <a:gd name="T10" fmla="*/ 0 w 82"/>
                  <a:gd name="T11" fmla="*/ 1 h 49"/>
                  <a:gd name="T12" fmla="*/ 2 w 82"/>
                  <a:gd name="T13" fmla="*/ 1 h 49"/>
                  <a:gd name="T14" fmla="*/ 81 w 82"/>
                  <a:gd name="T15" fmla="*/ 36 h 49"/>
                  <a:gd name="T16" fmla="*/ 82 w 82"/>
                  <a:gd name="T17" fmla="*/ 37 h 49"/>
                  <a:gd name="T18" fmla="*/ 82 w 82"/>
                  <a:gd name="T19" fmla="*/ 47 h 49"/>
                  <a:gd name="T20" fmla="*/ 81 w 82"/>
                  <a:gd name="T21" fmla="*/ 48 h 49"/>
                  <a:gd name="T22" fmla="*/ 80 w 82"/>
                  <a:gd name="T23" fmla="*/ 49 h 49"/>
                  <a:gd name="T24" fmla="*/ 4 w 82"/>
                  <a:gd name="T25" fmla="*/ 10 h 49"/>
                  <a:gd name="T26" fmla="*/ 10 w 82"/>
                  <a:gd name="T27" fmla="*/ 13 h 49"/>
                  <a:gd name="T28" fmla="*/ 78 w 82"/>
                  <a:gd name="T29" fmla="*/ 43 h 49"/>
                  <a:gd name="T30" fmla="*/ 78 w 82"/>
                  <a:gd name="T31" fmla="*/ 39 h 49"/>
                  <a:gd name="T32" fmla="*/ 4 w 82"/>
                  <a:gd name="T33" fmla="*/ 6 h 49"/>
                  <a:gd name="T34" fmla="*/ 4 w 82"/>
                  <a:gd name="T35" fmla="*/ 1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2" h="49">
                    <a:moveTo>
                      <a:pt x="80" y="49"/>
                    </a:moveTo>
                    <a:cubicBezTo>
                      <a:pt x="80" y="49"/>
                      <a:pt x="79" y="49"/>
                      <a:pt x="79" y="4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3"/>
                      <a:pt x="0" y="12"/>
                      <a:pt x="0" y="1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0" y="1"/>
                    </a:cubicBezTo>
                    <a:cubicBezTo>
                      <a:pt x="1" y="0"/>
                      <a:pt x="2" y="0"/>
                      <a:pt x="2" y="1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81" y="36"/>
                      <a:pt x="82" y="37"/>
                      <a:pt x="82" y="37"/>
                    </a:cubicBezTo>
                    <a:cubicBezTo>
                      <a:pt x="82" y="47"/>
                      <a:pt x="82" y="47"/>
                      <a:pt x="82" y="47"/>
                    </a:cubicBezTo>
                    <a:cubicBezTo>
                      <a:pt x="82" y="47"/>
                      <a:pt x="82" y="48"/>
                      <a:pt x="81" y="48"/>
                    </a:cubicBezTo>
                    <a:cubicBezTo>
                      <a:pt x="81" y="48"/>
                      <a:pt x="80" y="49"/>
                      <a:pt x="80" y="49"/>
                    </a:cubicBezTo>
                    <a:close/>
                    <a:moveTo>
                      <a:pt x="4" y="10"/>
                    </a:moveTo>
                    <a:cubicBezTo>
                      <a:pt x="10" y="13"/>
                      <a:pt x="10" y="13"/>
                      <a:pt x="10" y="13"/>
                    </a:cubicBezTo>
                    <a:cubicBezTo>
                      <a:pt x="78" y="43"/>
                      <a:pt x="78" y="43"/>
                      <a:pt x="78" y="43"/>
                    </a:cubicBezTo>
                    <a:cubicBezTo>
                      <a:pt x="78" y="39"/>
                      <a:pt x="78" y="39"/>
                      <a:pt x="78" y="39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Freeform 102"/>
              <p:cNvSpPr>
                <a:spLocks noEditPoints="1"/>
              </p:cNvSpPr>
              <p:nvPr/>
            </p:nvSpPr>
            <p:spPr bwMode="gray">
              <a:xfrm>
                <a:off x="3364" y="2083"/>
                <a:ext cx="69" cy="59"/>
              </a:xfrm>
              <a:custGeom>
                <a:avLst/>
                <a:gdLst>
                  <a:gd name="T0" fmla="*/ 2 w 29"/>
                  <a:gd name="T1" fmla="*/ 25 h 25"/>
                  <a:gd name="T2" fmla="*/ 1 w 29"/>
                  <a:gd name="T3" fmla="*/ 25 h 25"/>
                  <a:gd name="T4" fmla="*/ 0 w 29"/>
                  <a:gd name="T5" fmla="*/ 23 h 25"/>
                  <a:gd name="T6" fmla="*/ 0 w 29"/>
                  <a:gd name="T7" fmla="*/ 14 h 25"/>
                  <a:gd name="T8" fmla="*/ 1 w 29"/>
                  <a:gd name="T9" fmla="*/ 12 h 25"/>
                  <a:gd name="T10" fmla="*/ 26 w 29"/>
                  <a:gd name="T11" fmla="*/ 1 h 25"/>
                  <a:gd name="T12" fmla="*/ 28 w 29"/>
                  <a:gd name="T13" fmla="*/ 1 h 25"/>
                  <a:gd name="T14" fmla="*/ 29 w 29"/>
                  <a:gd name="T15" fmla="*/ 2 h 25"/>
                  <a:gd name="T16" fmla="*/ 29 w 29"/>
                  <a:gd name="T17" fmla="*/ 12 h 25"/>
                  <a:gd name="T18" fmla="*/ 28 w 29"/>
                  <a:gd name="T19" fmla="*/ 13 h 25"/>
                  <a:gd name="T20" fmla="*/ 28 w 29"/>
                  <a:gd name="T21" fmla="*/ 13 h 25"/>
                  <a:gd name="T22" fmla="*/ 3 w 29"/>
                  <a:gd name="T23" fmla="*/ 25 h 25"/>
                  <a:gd name="T24" fmla="*/ 2 w 29"/>
                  <a:gd name="T25" fmla="*/ 25 h 25"/>
                  <a:gd name="T26" fmla="*/ 4 w 29"/>
                  <a:gd name="T27" fmla="*/ 16 h 25"/>
                  <a:gd name="T28" fmla="*/ 4 w 29"/>
                  <a:gd name="T29" fmla="*/ 20 h 25"/>
                  <a:gd name="T30" fmla="*/ 25 w 29"/>
                  <a:gd name="T31" fmla="*/ 10 h 25"/>
                  <a:gd name="T32" fmla="*/ 25 w 29"/>
                  <a:gd name="T33" fmla="*/ 6 h 25"/>
                  <a:gd name="T34" fmla="*/ 4 w 29"/>
                  <a:gd name="T35" fmla="*/ 16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25">
                    <a:moveTo>
                      <a:pt x="2" y="25"/>
                    </a:moveTo>
                    <a:cubicBezTo>
                      <a:pt x="2" y="25"/>
                      <a:pt x="1" y="25"/>
                      <a:pt x="1" y="25"/>
                    </a:cubicBezTo>
                    <a:cubicBezTo>
                      <a:pt x="0" y="25"/>
                      <a:pt x="0" y="24"/>
                      <a:pt x="0" y="2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3"/>
                      <a:pt x="1" y="12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7" y="0"/>
                      <a:pt x="28" y="0"/>
                      <a:pt x="28" y="1"/>
                    </a:cubicBezTo>
                    <a:cubicBezTo>
                      <a:pt x="29" y="1"/>
                      <a:pt x="29" y="2"/>
                      <a:pt x="29" y="2"/>
                    </a:cubicBezTo>
                    <a:cubicBezTo>
                      <a:pt x="29" y="12"/>
                      <a:pt x="29" y="12"/>
                      <a:pt x="29" y="12"/>
                    </a:cubicBezTo>
                    <a:cubicBezTo>
                      <a:pt x="29" y="12"/>
                      <a:pt x="29" y="13"/>
                      <a:pt x="28" y="13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2" y="25"/>
                      <a:pt x="2" y="25"/>
                    </a:cubicBezTo>
                    <a:close/>
                    <a:moveTo>
                      <a:pt x="4" y="16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6"/>
                      <a:pt x="25" y="6"/>
                      <a:pt x="25" y="6"/>
                    </a:cubicBezTo>
                    <a:lnTo>
                      <a:pt x="4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Freeform 103"/>
              <p:cNvSpPr>
                <a:spLocks noEditPoints="1"/>
              </p:cNvSpPr>
              <p:nvPr/>
            </p:nvSpPr>
            <p:spPr bwMode="gray">
              <a:xfrm>
                <a:off x="3424" y="2083"/>
                <a:ext cx="534" cy="268"/>
              </a:xfrm>
              <a:custGeom>
                <a:avLst/>
                <a:gdLst>
                  <a:gd name="T0" fmla="*/ 223 w 225"/>
                  <a:gd name="T1" fmla="*/ 113 h 113"/>
                  <a:gd name="T2" fmla="*/ 223 w 225"/>
                  <a:gd name="T3" fmla="*/ 113 h 113"/>
                  <a:gd name="T4" fmla="*/ 1 w 225"/>
                  <a:gd name="T5" fmla="*/ 13 h 113"/>
                  <a:gd name="T6" fmla="*/ 0 w 225"/>
                  <a:gd name="T7" fmla="*/ 12 h 113"/>
                  <a:gd name="T8" fmla="*/ 0 w 225"/>
                  <a:gd name="T9" fmla="*/ 2 h 113"/>
                  <a:gd name="T10" fmla="*/ 1 w 225"/>
                  <a:gd name="T11" fmla="*/ 1 h 113"/>
                  <a:gd name="T12" fmla="*/ 3 w 225"/>
                  <a:gd name="T13" fmla="*/ 1 h 113"/>
                  <a:gd name="T14" fmla="*/ 224 w 225"/>
                  <a:gd name="T15" fmla="*/ 100 h 113"/>
                  <a:gd name="T16" fmla="*/ 225 w 225"/>
                  <a:gd name="T17" fmla="*/ 102 h 113"/>
                  <a:gd name="T18" fmla="*/ 225 w 225"/>
                  <a:gd name="T19" fmla="*/ 111 h 113"/>
                  <a:gd name="T20" fmla="*/ 224 w 225"/>
                  <a:gd name="T21" fmla="*/ 113 h 113"/>
                  <a:gd name="T22" fmla="*/ 223 w 225"/>
                  <a:gd name="T23" fmla="*/ 113 h 113"/>
                  <a:gd name="T24" fmla="*/ 4 w 225"/>
                  <a:gd name="T25" fmla="*/ 10 h 113"/>
                  <a:gd name="T26" fmla="*/ 221 w 225"/>
                  <a:gd name="T27" fmla="*/ 108 h 113"/>
                  <a:gd name="T28" fmla="*/ 221 w 225"/>
                  <a:gd name="T29" fmla="*/ 103 h 113"/>
                  <a:gd name="T30" fmla="*/ 4 w 225"/>
                  <a:gd name="T31" fmla="*/ 6 h 113"/>
                  <a:gd name="T32" fmla="*/ 4 w 225"/>
                  <a:gd name="T33" fmla="*/ 1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5" h="113">
                    <a:moveTo>
                      <a:pt x="223" y="113"/>
                    </a:moveTo>
                    <a:cubicBezTo>
                      <a:pt x="223" y="113"/>
                      <a:pt x="223" y="113"/>
                      <a:pt x="223" y="1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" y="13"/>
                      <a:pt x="0" y="12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1" y="1"/>
                      <a:pt x="1" y="1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224" y="100"/>
                      <a:pt x="224" y="100"/>
                      <a:pt x="224" y="100"/>
                    </a:cubicBezTo>
                    <a:cubicBezTo>
                      <a:pt x="225" y="100"/>
                      <a:pt x="225" y="101"/>
                      <a:pt x="225" y="102"/>
                    </a:cubicBezTo>
                    <a:cubicBezTo>
                      <a:pt x="225" y="111"/>
                      <a:pt x="225" y="111"/>
                      <a:pt x="225" y="111"/>
                    </a:cubicBezTo>
                    <a:cubicBezTo>
                      <a:pt x="225" y="112"/>
                      <a:pt x="225" y="112"/>
                      <a:pt x="224" y="113"/>
                    </a:cubicBezTo>
                    <a:cubicBezTo>
                      <a:pt x="224" y="113"/>
                      <a:pt x="224" y="113"/>
                      <a:pt x="223" y="113"/>
                    </a:cubicBezTo>
                    <a:close/>
                    <a:moveTo>
                      <a:pt x="4" y="10"/>
                    </a:moveTo>
                    <a:cubicBezTo>
                      <a:pt x="221" y="108"/>
                      <a:pt x="221" y="108"/>
                      <a:pt x="221" y="108"/>
                    </a:cubicBezTo>
                    <a:cubicBezTo>
                      <a:pt x="221" y="103"/>
                      <a:pt x="221" y="103"/>
                      <a:pt x="221" y="103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0" name="Freeform 104"/>
              <p:cNvSpPr>
                <a:spLocks noEditPoints="1"/>
              </p:cNvSpPr>
              <p:nvPr/>
            </p:nvSpPr>
            <p:spPr bwMode="gray">
              <a:xfrm>
                <a:off x="4118" y="2282"/>
                <a:ext cx="378" cy="200"/>
              </a:xfrm>
              <a:custGeom>
                <a:avLst/>
                <a:gdLst>
                  <a:gd name="T0" fmla="*/ 2 w 159"/>
                  <a:gd name="T1" fmla="*/ 84 h 84"/>
                  <a:gd name="T2" fmla="*/ 1 w 159"/>
                  <a:gd name="T3" fmla="*/ 83 h 84"/>
                  <a:gd name="T4" fmla="*/ 0 w 159"/>
                  <a:gd name="T5" fmla="*/ 82 h 84"/>
                  <a:gd name="T6" fmla="*/ 0 w 159"/>
                  <a:gd name="T7" fmla="*/ 72 h 84"/>
                  <a:gd name="T8" fmla="*/ 1 w 159"/>
                  <a:gd name="T9" fmla="*/ 71 h 84"/>
                  <a:gd name="T10" fmla="*/ 3 w 159"/>
                  <a:gd name="T11" fmla="*/ 70 h 84"/>
                  <a:gd name="T12" fmla="*/ 3 w 159"/>
                  <a:gd name="T13" fmla="*/ 70 h 84"/>
                  <a:gd name="T14" fmla="*/ 157 w 159"/>
                  <a:gd name="T15" fmla="*/ 0 h 84"/>
                  <a:gd name="T16" fmla="*/ 158 w 159"/>
                  <a:gd name="T17" fmla="*/ 0 h 84"/>
                  <a:gd name="T18" fmla="*/ 159 w 159"/>
                  <a:gd name="T19" fmla="*/ 2 h 84"/>
                  <a:gd name="T20" fmla="*/ 159 w 159"/>
                  <a:gd name="T21" fmla="*/ 11 h 84"/>
                  <a:gd name="T22" fmla="*/ 158 w 159"/>
                  <a:gd name="T23" fmla="*/ 13 h 84"/>
                  <a:gd name="T24" fmla="*/ 3 w 159"/>
                  <a:gd name="T25" fmla="*/ 83 h 84"/>
                  <a:gd name="T26" fmla="*/ 2 w 159"/>
                  <a:gd name="T27" fmla="*/ 84 h 84"/>
                  <a:gd name="T28" fmla="*/ 4 w 159"/>
                  <a:gd name="T29" fmla="*/ 74 h 84"/>
                  <a:gd name="T30" fmla="*/ 4 w 159"/>
                  <a:gd name="T31" fmla="*/ 78 h 84"/>
                  <a:gd name="T32" fmla="*/ 155 w 159"/>
                  <a:gd name="T33" fmla="*/ 10 h 84"/>
                  <a:gd name="T34" fmla="*/ 155 w 159"/>
                  <a:gd name="T35" fmla="*/ 5 h 84"/>
                  <a:gd name="T36" fmla="*/ 4 w 159"/>
                  <a:gd name="T37" fmla="*/ 7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" h="84">
                    <a:moveTo>
                      <a:pt x="2" y="84"/>
                    </a:moveTo>
                    <a:cubicBezTo>
                      <a:pt x="2" y="84"/>
                      <a:pt x="1" y="83"/>
                      <a:pt x="1" y="83"/>
                    </a:cubicBezTo>
                    <a:cubicBezTo>
                      <a:pt x="0" y="83"/>
                      <a:pt x="0" y="82"/>
                      <a:pt x="0" y="82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72"/>
                      <a:pt x="0" y="71"/>
                      <a:pt x="1" y="71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157" y="0"/>
                      <a:pt x="157" y="0"/>
                      <a:pt x="157" y="0"/>
                    </a:cubicBezTo>
                    <a:cubicBezTo>
                      <a:pt x="157" y="0"/>
                      <a:pt x="158" y="0"/>
                      <a:pt x="158" y="0"/>
                    </a:cubicBezTo>
                    <a:cubicBezTo>
                      <a:pt x="159" y="0"/>
                      <a:pt x="159" y="1"/>
                      <a:pt x="159" y="2"/>
                    </a:cubicBezTo>
                    <a:cubicBezTo>
                      <a:pt x="159" y="11"/>
                      <a:pt x="159" y="11"/>
                      <a:pt x="159" y="11"/>
                    </a:cubicBezTo>
                    <a:cubicBezTo>
                      <a:pt x="159" y="12"/>
                      <a:pt x="159" y="12"/>
                      <a:pt x="158" y="13"/>
                    </a:cubicBezTo>
                    <a:cubicBezTo>
                      <a:pt x="3" y="83"/>
                      <a:pt x="3" y="83"/>
                      <a:pt x="3" y="83"/>
                    </a:cubicBezTo>
                    <a:cubicBezTo>
                      <a:pt x="3" y="84"/>
                      <a:pt x="2" y="84"/>
                      <a:pt x="2" y="84"/>
                    </a:cubicBezTo>
                    <a:close/>
                    <a:moveTo>
                      <a:pt x="4" y="74"/>
                    </a:moveTo>
                    <a:cubicBezTo>
                      <a:pt x="4" y="78"/>
                      <a:pt x="4" y="78"/>
                      <a:pt x="4" y="78"/>
                    </a:cubicBezTo>
                    <a:cubicBezTo>
                      <a:pt x="155" y="10"/>
                      <a:pt x="155" y="10"/>
                      <a:pt x="155" y="10"/>
                    </a:cubicBezTo>
                    <a:cubicBezTo>
                      <a:pt x="155" y="5"/>
                      <a:pt x="155" y="5"/>
                      <a:pt x="155" y="5"/>
                    </a:cubicBezTo>
                    <a:lnTo>
                      <a:pt x="4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1" name="Freeform 105"/>
              <p:cNvSpPr>
                <a:spLocks noEditPoints="1"/>
              </p:cNvSpPr>
              <p:nvPr/>
            </p:nvSpPr>
            <p:spPr bwMode="gray">
              <a:xfrm>
                <a:off x="3932" y="2273"/>
                <a:ext cx="564" cy="185"/>
              </a:xfrm>
              <a:custGeom>
                <a:avLst/>
                <a:gdLst>
                  <a:gd name="T0" fmla="*/ 80 w 237"/>
                  <a:gd name="T1" fmla="*/ 78 h 78"/>
                  <a:gd name="T2" fmla="*/ 79 w 237"/>
                  <a:gd name="T3" fmla="*/ 78 h 78"/>
                  <a:gd name="T4" fmla="*/ 1 w 237"/>
                  <a:gd name="T5" fmla="*/ 43 h 78"/>
                  <a:gd name="T6" fmla="*/ 0 w 237"/>
                  <a:gd name="T7" fmla="*/ 42 h 78"/>
                  <a:gd name="T8" fmla="*/ 1 w 237"/>
                  <a:gd name="T9" fmla="*/ 40 h 78"/>
                  <a:gd name="T10" fmla="*/ 9 w 237"/>
                  <a:gd name="T11" fmla="*/ 36 h 78"/>
                  <a:gd name="T12" fmla="*/ 10 w 237"/>
                  <a:gd name="T13" fmla="*/ 36 h 78"/>
                  <a:gd name="T14" fmla="*/ 11 w 237"/>
                  <a:gd name="T15" fmla="*/ 38 h 78"/>
                  <a:gd name="T16" fmla="*/ 11 w 237"/>
                  <a:gd name="T17" fmla="*/ 40 h 78"/>
                  <a:gd name="T18" fmla="*/ 80 w 237"/>
                  <a:gd name="T19" fmla="*/ 71 h 78"/>
                  <a:gd name="T20" fmla="*/ 226 w 237"/>
                  <a:gd name="T21" fmla="*/ 4 h 78"/>
                  <a:gd name="T22" fmla="*/ 226 w 237"/>
                  <a:gd name="T23" fmla="*/ 2 h 78"/>
                  <a:gd name="T24" fmla="*/ 226 w 237"/>
                  <a:gd name="T25" fmla="*/ 1 h 78"/>
                  <a:gd name="T26" fmla="*/ 228 w 237"/>
                  <a:gd name="T27" fmla="*/ 0 h 78"/>
                  <a:gd name="T28" fmla="*/ 236 w 237"/>
                  <a:gd name="T29" fmla="*/ 4 h 78"/>
                  <a:gd name="T30" fmla="*/ 237 w 237"/>
                  <a:gd name="T31" fmla="*/ 6 h 78"/>
                  <a:gd name="T32" fmla="*/ 236 w 237"/>
                  <a:gd name="T33" fmla="*/ 8 h 78"/>
                  <a:gd name="T34" fmla="*/ 81 w 237"/>
                  <a:gd name="T35" fmla="*/ 78 h 78"/>
                  <a:gd name="T36" fmla="*/ 80 w 237"/>
                  <a:gd name="T37" fmla="*/ 78 h 78"/>
                  <a:gd name="T38" fmla="*/ 6 w 237"/>
                  <a:gd name="T39" fmla="*/ 41 h 78"/>
                  <a:gd name="T40" fmla="*/ 7 w 237"/>
                  <a:gd name="T41" fmla="*/ 42 h 78"/>
                  <a:gd name="T42" fmla="*/ 7 w 237"/>
                  <a:gd name="T43" fmla="*/ 41 h 78"/>
                  <a:gd name="T44" fmla="*/ 7 w 237"/>
                  <a:gd name="T45" fmla="*/ 41 h 78"/>
                  <a:gd name="T46" fmla="*/ 7 w 237"/>
                  <a:gd name="T47" fmla="*/ 41 h 78"/>
                  <a:gd name="T48" fmla="*/ 7 w 237"/>
                  <a:gd name="T49" fmla="*/ 41 h 78"/>
                  <a:gd name="T50" fmla="*/ 6 w 237"/>
                  <a:gd name="T51" fmla="*/ 41 h 78"/>
                  <a:gd name="T52" fmla="*/ 230 w 237"/>
                  <a:gd name="T53" fmla="*/ 6 h 78"/>
                  <a:gd name="T54" fmla="*/ 230 w 237"/>
                  <a:gd name="T55" fmla="*/ 6 h 78"/>
                  <a:gd name="T56" fmla="*/ 229 w 237"/>
                  <a:gd name="T57" fmla="*/ 6 h 78"/>
                  <a:gd name="T58" fmla="*/ 231 w 237"/>
                  <a:gd name="T59" fmla="*/ 6 h 78"/>
                  <a:gd name="T60" fmla="*/ 230 w 237"/>
                  <a:gd name="T61" fmla="*/ 5 h 78"/>
                  <a:gd name="T62" fmla="*/ 230 w 237"/>
                  <a:gd name="T63" fmla="*/ 6 h 78"/>
                  <a:gd name="T64" fmla="*/ 230 w 237"/>
                  <a:gd name="T65" fmla="*/ 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7" h="78">
                    <a:moveTo>
                      <a:pt x="80" y="78"/>
                    </a:moveTo>
                    <a:cubicBezTo>
                      <a:pt x="80" y="78"/>
                      <a:pt x="79" y="78"/>
                      <a:pt x="79" y="78"/>
                    </a:cubicBezTo>
                    <a:cubicBezTo>
                      <a:pt x="1" y="43"/>
                      <a:pt x="1" y="43"/>
                      <a:pt x="1" y="43"/>
                    </a:cubicBezTo>
                    <a:cubicBezTo>
                      <a:pt x="0" y="43"/>
                      <a:pt x="0" y="42"/>
                      <a:pt x="0" y="42"/>
                    </a:cubicBezTo>
                    <a:cubicBezTo>
                      <a:pt x="0" y="41"/>
                      <a:pt x="0" y="40"/>
                      <a:pt x="1" y="40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6"/>
                      <a:pt x="10" y="36"/>
                      <a:pt x="10" y="36"/>
                    </a:cubicBezTo>
                    <a:cubicBezTo>
                      <a:pt x="11" y="37"/>
                      <a:pt x="11" y="37"/>
                      <a:pt x="11" y="38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226" y="4"/>
                      <a:pt x="226" y="4"/>
                      <a:pt x="226" y="4"/>
                    </a:cubicBezTo>
                    <a:cubicBezTo>
                      <a:pt x="226" y="2"/>
                      <a:pt x="226" y="2"/>
                      <a:pt x="226" y="2"/>
                    </a:cubicBezTo>
                    <a:cubicBezTo>
                      <a:pt x="226" y="2"/>
                      <a:pt x="226" y="1"/>
                      <a:pt x="226" y="1"/>
                    </a:cubicBezTo>
                    <a:cubicBezTo>
                      <a:pt x="227" y="0"/>
                      <a:pt x="228" y="0"/>
                      <a:pt x="228" y="0"/>
                    </a:cubicBezTo>
                    <a:cubicBezTo>
                      <a:pt x="236" y="4"/>
                      <a:pt x="236" y="4"/>
                      <a:pt x="236" y="4"/>
                    </a:cubicBezTo>
                    <a:cubicBezTo>
                      <a:pt x="237" y="4"/>
                      <a:pt x="237" y="5"/>
                      <a:pt x="237" y="6"/>
                    </a:cubicBezTo>
                    <a:cubicBezTo>
                      <a:pt x="237" y="7"/>
                      <a:pt x="237" y="7"/>
                      <a:pt x="236" y="8"/>
                    </a:cubicBezTo>
                    <a:cubicBezTo>
                      <a:pt x="81" y="78"/>
                      <a:pt x="81" y="78"/>
                      <a:pt x="81" y="78"/>
                    </a:cubicBezTo>
                    <a:cubicBezTo>
                      <a:pt x="81" y="78"/>
                      <a:pt x="80" y="78"/>
                      <a:pt x="80" y="78"/>
                    </a:cubicBezTo>
                    <a:close/>
                    <a:moveTo>
                      <a:pt x="6" y="41"/>
                    </a:moveTo>
                    <a:cubicBezTo>
                      <a:pt x="7" y="42"/>
                      <a:pt x="7" y="42"/>
                      <a:pt x="7" y="42"/>
                    </a:cubicBezTo>
                    <a:cubicBezTo>
                      <a:pt x="7" y="42"/>
                      <a:pt x="7" y="42"/>
                      <a:pt x="7" y="41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1"/>
                      <a:pt x="7" y="41"/>
                      <a:pt x="7" y="41"/>
                    </a:cubicBezTo>
                    <a:lnTo>
                      <a:pt x="6" y="41"/>
                    </a:lnTo>
                    <a:close/>
                    <a:moveTo>
                      <a:pt x="230" y="6"/>
                    </a:moveTo>
                    <a:cubicBezTo>
                      <a:pt x="230" y="6"/>
                      <a:pt x="230" y="6"/>
                      <a:pt x="230" y="6"/>
                    </a:cubicBezTo>
                    <a:cubicBezTo>
                      <a:pt x="230" y="6"/>
                      <a:pt x="229" y="6"/>
                      <a:pt x="229" y="6"/>
                    </a:cubicBezTo>
                    <a:cubicBezTo>
                      <a:pt x="231" y="6"/>
                      <a:pt x="231" y="6"/>
                      <a:pt x="231" y="6"/>
                    </a:cubicBezTo>
                    <a:cubicBezTo>
                      <a:pt x="230" y="5"/>
                      <a:pt x="230" y="5"/>
                      <a:pt x="230" y="5"/>
                    </a:cubicBezTo>
                    <a:cubicBezTo>
                      <a:pt x="230" y="6"/>
                      <a:pt x="230" y="6"/>
                      <a:pt x="230" y="6"/>
                    </a:cubicBezTo>
                    <a:cubicBezTo>
                      <a:pt x="230" y="6"/>
                      <a:pt x="230" y="6"/>
                      <a:pt x="23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2" name="Freeform 106"/>
              <p:cNvSpPr>
                <a:spLocks noEditPoints="1"/>
              </p:cNvSpPr>
              <p:nvPr/>
            </p:nvSpPr>
            <p:spPr bwMode="gray">
              <a:xfrm>
                <a:off x="3184" y="2021"/>
                <a:ext cx="774" cy="309"/>
              </a:xfrm>
              <a:custGeom>
                <a:avLst/>
                <a:gdLst>
                  <a:gd name="T0" fmla="*/ 324 w 326"/>
                  <a:gd name="T1" fmla="*/ 130 h 130"/>
                  <a:gd name="T2" fmla="*/ 324 w 326"/>
                  <a:gd name="T3" fmla="*/ 130 h 130"/>
                  <a:gd name="T4" fmla="*/ 103 w 326"/>
                  <a:gd name="T5" fmla="*/ 31 h 130"/>
                  <a:gd name="T6" fmla="*/ 79 w 326"/>
                  <a:gd name="T7" fmla="*/ 42 h 130"/>
                  <a:gd name="T8" fmla="*/ 77 w 326"/>
                  <a:gd name="T9" fmla="*/ 42 h 130"/>
                  <a:gd name="T10" fmla="*/ 1 w 326"/>
                  <a:gd name="T11" fmla="*/ 8 h 130"/>
                  <a:gd name="T12" fmla="*/ 0 w 326"/>
                  <a:gd name="T13" fmla="*/ 6 h 130"/>
                  <a:gd name="T14" fmla="*/ 1 w 326"/>
                  <a:gd name="T15" fmla="*/ 4 h 130"/>
                  <a:gd name="T16" fmla="*/ 9 w 326"/>
                  <a:gd name="T17" fmla="*/ 0 h 130"/>
                  <a:gd name="T18" fmla="*/ 11 w 326"/>
                  <a:gd name="T19" fmla="*/ 1 h 130"/>
                  <a:gd name="T20" fmla="*/ 11 w 326"/>
                  <a:gd name="T21" fmla="*/ 2 h 130"/>
                  <a:gd name="T22" fmla="*/ 11 w 326"/>
                  <a:gd name="T23" fmla="*/ 4 h 130"/>
                  <a:gd name="T24" fmla="*/ 78 w 326"/>
                  <a:gd name="T25" fmla="*/ 34 h 130"/>
                  <a:gd name="T26" fmla="*/ 102 w 326"/>
                  <a:gd name="T27" fmla="*/ 23 h 130"/>
                  <a:gd name="T28" fmla="*/ 104 w 326"/>
                  <a:gd name="T29" fmla="*/ 23 h 130"/>
                  <a:gd name="T30" fmla="*/ 325 w 326"/>
                  <a:gd name="T31" fmla="*/ 123 h 130"/>
                  <a:gd name="T32" fmla="*/ 326 w 326"/>
                  <a:gd name="T33" fmla="*/ 124 h 130"/>
                  <a:gd name="T34" fmla="*/ 326 w 326"/>
                  <a:gd name="T35" fmla="*/ 128 h 130"/>
                  <a:gd name="T36" fmla="*/ 325 w 326"/>
                  <a:gd name="T37" fmla="*/ 130 h 130"/>
                  <a:gd name="T38" fmla="*/ 324 w 326"/>
                  <a:gd name="T39" fmla="*/ 130 h 130"/>
                  <a:gd name="T40" fmla="*/ 6 w 326"/>
                  <a:gd name="T41" fmla="*/ 6 h 130"/>
                  <a:gd name="T42" fmla="*/ 8 w 326"/>
                  <a:gd name="T43" fmla="*/ 6 h 130"/>
                  <a:gd name="T44" fmla="*/ 7 w 326"/>
                  <a:gd name="T45" fmla="*/ 6 h 130"/>
                  <a:gd name="T46" fmla="*/ 7 w 326"/>
                  <a:gd name="T47" fmla="*/ 6 h 130"/>
                  <a:gd name="T48" fmla="*/ 7 w 326"/>
                  <a:gd name="T49" fmla="*/ 6 h 130"/>
                  <a:gd name="T50" fmla="*/ 7 w 326"/>
                  <a:gd name="T51" fmla="*/ 5 h 130"/>
                  <a:gd name="T52" fmla="*/ 6 w 326"/>
                  <a:gd name="T53" fmla="*/ 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6" h="130">
                    <a:moveTo>
                      <a:pt x="324" y="130"/>
                    </a:moveTo>
                    <a:cubicBezTo>
                      <a:pt x="324" y="130"/>
                      <a:pt x="324" y="130"/>
                      <a:pt x="324" y="130"/>
                    </a:cubicBezTo>
                    <a:cubicBezTo>
                      <a:pt x="103" y="31"/>
                      <a:pt x="103" y="31"/>
                      <a:pt x="103" y="31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8" y="42"/>
                      <a:pt x="78" y="42"/>
                      <a:pt x="77" y="4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7"/>
                      <a:pt x="0" y="7"/>
                      <a:pt x="0" y="6"/>
                    </a:cubicBezTo>
                    <a:cubicBezTo>
                      <a:pt x="0" y="5"/>
                      <a:pt x="0" y="4"/>
                      <a:pt x="1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10" y="0"/>
                      <a:pt x="11" y="1"/>
                    </a:cubicBezTo>
                    <a:cubicBezTo>
                      <a:pt x="11" y="1"/>
                      <a:pt x="11" y="2"/>
                      <a:pt x="11" y="2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78" y="34"/>
                      <a:pt x="78" y="34"/>
                      <a:pt x="78" y="34"/>
                    </a:cubicBezTo>
                    <a:cubicBezTo>
                      <a:pt x="102" y="23"/>
                      <a:pt x="102" y="23"/>
                      <a:pt x="102" y="23"/>
                    </a:cubicBezTo>
                    <a:cubicBezTo>
                      <a:pt x="103" y="23"/>
                      <a:pt x="104" y="23"/>
                      <a:pt x="104" y="23"/>
                    </a:cubicBezTo>
                    <a:cubicBezTo>
                      <a:pt x="325" y="123"/>
                      <a:pt x="325" y="123"/>
                      <a:pt x="325" y="123"/>
                    </a:cubicBezTo>
                    <a:cubicBezTo>
                      <a:pt x="326" y="123"/>
                      <a:pt x="326" y="124"/>
                      <a:pt x="326" y="124"/>
                    </a:cubicBezTo>
                    <a:cubicBezTo>
                      <a:pt x="326" y="128"/>
                      <a:pt x="326" y="128"/>
                      <a:pt x="326" y="128"/>
                    </a:cubicBezTo>
                    <a:cubicBezTo>
                      <a:pt x="326" y="129"/>
                      <a:pt x="326" y="129"/>
                      <a:pt x="325" y="130"/>
                    </a:cubicBezTo>
                    <a:cubicBezTo>
                      <a:pt x="325" y="130"/>
                      <a:pt x="325" y="130"/>
                      <a:pt x="324" y="130"/>
                    </a:cubicBezTo>
                    <a:close/>
                    <a:moveTo>
                      <a:pt x="6" y="6"/>
                    </a:move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7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lnTo>
                      <a:pt x="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3" name="Freeform 107"/>
              <p:cNvSpPr>
                <a:spLocks/>
              </p:cNvSpPr>
              <p:nvPr/>
            </p:nvSpPr>
            <p:spPr bwMode="gray">
              <a:xfrm>
                <a:off x="3695" y="2399"/>
                <a:ext cx="16" cy="12"/>
              </a:xfrm>
              <a:custGeom>
                <a:avLst/>
                <a:gdLst>
                  <a:gd name="T0" fmla="*/ 5 w 7"/>
                  <a:gd name="T1" fmla="*/ 5 h 5"/>
                  <a:gd name="T2" fmla="*/ 3 w 7"/>
                  <a:gd name="T3" fmla="*/ 5 h 5"/>
                  <a:gd name="T4" fmla="*/ 1 w 7"/>
                  <a:gd name="T5" fmla="*/ 3 h 5"/>
                  <a:gd name="T6" fmla="*/ 2 w 7"/>
                  <a:gd name="T7" fmla="*/ 1 h 5"/>
                  <a:gd name="T8" fmla="*/ 3 w 7"/>
                  <a:gd name="T9" fmla="*/ 1 h 5"/>
                  <a:gd name="T10" fmla="*/ 4 w 7"/>
                  <a:gd name="T11" fmla="*/ 1 h 5"/>
                  <a:gd name="T12" fmla="*/ 6 w 7"/>
                  <a:gd name="T13" fmla="*/ 1 h 5"/>
                  <a:gd name="T14" fmla="*/ 7 w 7"/>
                  <a:gd name="T15" fmla="*/ 3 h 5"/>
                  <a:gd name="T16" fmla="*/ 5 w 7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5" y="5"/>
                    </a:moveTo>
                    <a:cubicBezTo>
                      <a:pt x="3" y="5"/>
                      <a:pt x="3" y="5"/>
                      <a:pt x="3" y="5"/>
                    </a:cubicBezTo>
                    <a:cubicBezTo>
                      <a:pt x="2" y="5"/>
                      <a:pt x="1" y="4"/>
                      <a:pt x="1" y="3"/>
                    </a:cubicBezTo>
                    <a:cubicBezTo>
                      <a:pt x="0" y="2"/>
                      <a:pt x="1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7" y="2"/>
                      <a:pt x="7" y="3"/>
                    </a:cubicBezTo>
                    <a:cubicBezTo>
                      <a:pt x="6" y="4"/>
                      <a:pt x="6" y="5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4" name="Freeform 108"/>
              <p:cNvSpPr>
                <a:spLocks noEditPoints="1"/>
              </p:cNvSpPr>
              <p:nvPr/>
            </p:nvSpPr>
            <p:spPr bwMode="gray">
              <a:xfrm>
                <a:off x="3476" y="1964"/>
                <a:ext cx="76" cy="126"/>
              </a:xfrm>
              <a:custGeom>
                <a:avLst/>
                <a:gdLst>
                  <a:gd name="T0" fmla="*/ 30 w 32"/>
                  <a:gd name="T1" fmla="*/ 53 h 53"/>
                  <a:gd name="T2" fmla="*/ 29 w 32"/>
                  <a:gd name="T3" fmla="*/ 53 h 53"/>
                  <a:gd name="T4" fmla="*/ 2 w 32"/>
                  <a:gd name="T5" fmla="*/ 40 h 53"/>
                  <a:gd name="T6" fmla="*/ 0 w 32"/>
                  <a:gd name="T7" fmla="*/ 38 h 53"/>
                  <a:gd name="T8" fmla="*/ 0 w 32"/>
                  <a:gd name="T9" fmla="*/ 2 h 53"/>
                  <a:gd name="T10" fmla="*/ 1 w 32"/>
                  <a:gd name="T11" fmla="*/ 0 h 53"/>
                  <a:gd name="T12" fmla="*/ 3 w 32"/>
                  <a:gd name="T13" fmla="*/ 0 h 53"/>
                  <a:gd name="T14" fmla="*/ 17 w 32"/>
                  <a:gd name="T15" fmla="*/ 5 h 53"/>
                  <a:gd name="T16" fmla="*/ 31 w 32"/>
                  <a:gd name="T17" fmla="*/ 12 h 53"/>
                  <a:gd name="T18" fmla="*/ 32 w 32"/>
                  <a:gd name="T19" fmla="*/ 14 h 53"/>
                  <a:gd name="T20" fmla="*/ 32 w 32"/>
                  <a:gd name="T21" fmla="*/ 51 h 53"/>
                  <a:gd name="T22" fmla="*/ 31 w 32"/>
                  <a:gd name="T23" fmla="*/ 52 h 53"/>
                  <a:gd name="T24" fmla="*/ 30 w 32"/>
                  <a:gd name="T25" fmla="*/ 53 h 53"/>
                  <a:gd name="T26" fmla="*/ 4 w 32"/>
                  <a:gd name="T27" fmla="*/ 37 h 53"/>
                  <a:gd name="T28" fmla="*/ 28 w 32"/>
                  <a:gd name="T29" fmla="*/ 48 h 53"/>
                  <a:gd name="T30" fmla="*/ 28 w 32"/>
                  <a:gd name="T31" fmla="*/ 15 h 53"/>
                  <a:gd name="T32" fmla="*/ 15 w 32"/>
                  <a:gd name="T33" fmla="*/ 8 h 53"/>
                  <a:gd name="T34" fmla="*/ 4 w 32"/>
                  <a:gd name="T35" fmla="*/ 4 h 53"/>
                  <a:gd name="T36" fmla="*/ 4 w 32"/>
                  <a:gd name="T37" fmla="*/ 3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53">
                    <a:moveTo>
                      <a:pt x="30" y="53"/>
                    </a:moveTo>
                    <a:cubicBezTo>
                      <a:pt x="30" y="53"/>
                      <a:pt x="29" y="53"/>
                      <a:pt x="29" y="53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1"/>
                      <a:pt x="1" y="0"/>
                    </a:cubicBezTo>
                    <a:cubicBezTo>
                      <a:pt x="2" y="0"/>
                      <a:pt x="2" y="0"/>
                      <a:pt x="3" y="0"/>
                    </a:cubicBezTo>
                    <a:cubicBezTo>
                      <a:pt x="7" y="1"/>
                      <a:pt x="12" y="2"/>
                      <a:pt x="17" y="5"/>
                    </a:cubicBezTo>
                    <a:cubicBezTo>
                      <a:pt x="22" y="7"/>
                      <a:pt x="27" y="10"/>
                      <a:pt x="31" y="12"/>
                    </a:cubicBezTo>
                    <a:cubicBezTo>
                      <a:pt x="32" y="13"/>
                      <a:pt x="32" y="13"/>
                      <a:pt x="32" y="14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2" y="51"/>
                      <a:pt x="32" y="52"/>
                      <a:pt x="31" y="52"/>
                    </a:cubicBezTo>
                    <a:cubicBezTo>
                      <a:pt x="31" y="53"/>
                      <a:pt x="30" y="53"/>
                      <a:pt x="30" y="53"/>
                    </a:cubicBezTo>
                    <a:close/>
                    <a:moveTo>
                      <a:pt x="4" y="37"/>
                    </a:moveTo>
                    <a:cubicBezTo>
                      <a:pt x="28" y="48"/>
                      <a:pt x="28" y="48"/>
                      <a:pt x="28" y="48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4" y="13"/>
                      <a:pt x="20" y="10"/>
                      <a:pt x="15" y="8"/>
                    </a:cubicBezTo>
                    <a:cubicBezTo>
                      <a:pt x="12" y="6"/>
                      <a:pt x="8" y="5"/>
                      <a:pt x="4" y="4"/>
                    </a:cubicBezTo>
                    <a:lnTo>
                      <a:pt x="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47" name="Parallelogramm 546"/>
            <p:cNvSpPr/>
            <p:nvPr/>
          </p:nvSpPr>
          <p:spPr bwMode="gray">
            <a:xfrm rot="5400000">
              <a:off x="9950565" y="1924534"/>
              <a:ext cx="211136" cy="186809"/>
            </a:xfrm>
            <a:prstGeom prst="parallelogram">
              <a:avLst>
                <a:gd name="adj" fmla="val 44960"/>
              </a:avLst>
            </a:prstGeom>
            <a:solidFill>
              <a:srgbClr val="D7D7CD"/>
            </a:solidFill>
            <a:ln w="12700">
              <a:solidFill>
                <a:srgbClr val="3C464B"/>
              </a:solidFill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49" name="Ellipse 548"/>
            <p:cNvSpPr/>
            <p:nvPr/>
          </p:nvSpPr>
          <p:spPr bwMode="gray">
            <a:xfrm>
              <a:off x="9865712" y="2733129"/>
              <a:ext cx="194036" cy="72310"/>
            </a:xfrm>
            <a:prstGeom prst="ellipse">
              <a:avLst/>
            </a:prstGeom>
            <a:solidFill>
              <a:srgbClr val="D7D7CD"/>
            </a:solidFill>
            <a:ln w="12700">
              <a:solidFill>
                <a:srgbClr val="3C464B"/>
              </a:solidFill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48" name="Ellipse 547"/>
            <p:cNvSpPr/>
            <p:nvPr/>
          </p:nvSpPr>
          <p:spPr bwMode="gray">
            <a:xfrm>
              <a:off x="9899585" y="2717693"/>
              <a:ext cx="126289" cy="47064"/>
            </a:xfrm>
            <a:prstGeom prst="ellipse">
              <a:avLst/>
            </a:prstGeom>
            <a:solidFill>
              <a:srgbClr val="D7D7CD"/>
            </a:solidFill>
            <a:ln w="12700">
              <a:solidFill>
                <a:srgbClr val="3C464B"/>
              </a:solidFill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51" name="Parallelogramm 550"/>
            <p:cNvSpPr/>
            <p:nvPr/>
          </p:nvSpPr>
          <p:spPr bwMode="gray">
            <a:xfrm rot="5400000">
              <a:off x="9956899" y="1918200"/>
              <a:ext cx="101185" cy="89526"/>
            </a:xfrm>
            <a:prstGeom prst="parallelogram">
              <a:avLst>
                <a:gd name="adj" fmla="val 44960"/>
              </a:avLst>
            </a:prstGeom>
            <a:solidFill>
              <a:srgbClr val="D7D7CD"/>
            </a:solidFill>
            <a:ln w="12700">
              <a:solidFill>
                <a:srgbClr val="3C464B"/>
              </a:solidFill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cxnSp>
          <p:nvCxnSpPr>
            <p:cNvPr id="546" name="Gerade Verbindung 545"/>
            <p:cNvCxnSpPr/>
            <p:nvPr/>
          </p:nvCxnSpPr>
          <p:spPr bwMode="gray">
            <a:xfrm flipV="1">
              <a:off x="9962730" y="1880146"/>
              <a:ext cx="0" cy="85515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3C464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1126901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Nous avons la chance de façonner l’avenir...</a:t>
            </a:r>
            <a:endParaRPr lang="en-US" dirty="0"/>
          </a:p>
        </p:txBody>
      </p:sp>
      <p:pic>
        <p:nvPicPr>
          <p:cNvPr id="7" name="Bild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6" t="-556" r="13782" b="3469"/>
          <a:stretch/>
        </p:blipFill>
        <p:spPr>
          <a:xfrm>
            <a:off x="6014797" y="1232788"/>
            <a:ext cx="6183553" cy="5237586"/>
          </a:xfrm>
          <a:prstGeom prst="rect">
            <a:avLst/>
          </a:prstGeom>
        </p:spPr>
      </p:pic>
      <p:sp>
        <p:nvSpPr>
          <p:cNvPr id="8" name="Rechteck 8"/>
          <p:cNvSpPr/>
          <p:nvPr/>
        </p:nvSpPr>
        <p:spPr bwMode="auto">
          <a:xfrm>
            <a:off x="622624" y="3068950"/>
            <a:ext cx="5980607" cy="30969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500"/>
              </a:spcAft>
            </a:pPr>
            <a:r>
              <a:rPr lang="fr-CA" sz="2800" b="1" kern="0" dirty="0" smtClean="0">
                <a:solidFill>
                  <a:schemeClr val="bg1"/>
                </a:solidFill>
              </a:rPr>
              <a:t>« La transformation culturelle commence par la transformation personnelle des dirigeants. Les entreprises ne se transforment pas d’elle-même. Ce sont les employés qui le font. »</a:t>
            </a:r>
            <a:r>
              <a:rPr lang="en-US" sz="2800" kern="0" spc="60" dirty="0" smtClean="0">
                <a:solidFill>
                  <a:schemeClr val="bg1"/>
                </a:solidFill>
              </a:rPr>
              <a:t>				     	</a:t>
            </a:r>
            <a:r>
              <a:rPr lang="en-US" sz="2400" i="1" kern="0" spc="60" dirty="0" smtClean="0">
                <a:solidFill>
                  <a:schemeClr val="bg1"/>
                </a:solidFill>
              </a:rPr>
              <a:t>Richard Barrett</a:t>
            </a:r>
            <a:endParaRPr lang="en-US" sz="2400" i="1" kern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627063" y="4877954"/>
            <a:ext cx="4320000" cy="924541"/>
          </a:xfrm>
        </p:spPr>
        <p:txBody>
          <a:bodyPr/>
          <a:lstStyle/>
          <a:p>
            <a:r>
              <a:rPr lang="en-US" sz="4000" dirty="0" smtClean="0"/>
              <a:t>Merci</a:t>
            </a:r>
            <a:endParaRPr lang="en-US" sz="4000" dirty="0"/>
          </a:p>
        </p:txBody>
      </p:sp>
      <p:sp>
        <p:nvSpPr>
          <p:cNvPr id="7" name="Untertitel 6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4320000" cy="324000"/>
          </a:xfrm>
        </p:spPr>
        <p:txBody>
          <a:bodyPr/>
          <a:lstStyle/>
          <a:p>
            <a:r>
              <a:rPr lang="en-US" sz="1000" dirty="0"/>
              <a:t>Twitter</a:t>
            </a:r>
            <a:r>
              <a:rPr lang="en-US" sz="1000" dirty="0" smtClean="0"/>
              <a:t>: @</a:t>
            </a:r>
            <a:r>
              <a:rPr lang="en-US" sz="1000" dirty="0" err="1" smtClean="0"/>
              <a:t>Stephane_Chayer</a:t>
            </a:r>
            <a:r>
              <a:rPr lang="en-US" sz="1000" dirty="0" smtClean="0"/>
              <a:t> </a:t>
            </a:r>
            <a:endParaRPr lang="en-US" sz="1000" dirty="0"/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627063" y="5907600"/>
            <a:ext cx="2340000" cy="324000"/>
          </a:xfrm>
        </p:spPr>
        <p:txBody>
          <a:bodyPr/>
          <a:lstStyle/>
          <a:p>
            <a:r>
              <a:rPr lang="en-US" sz="1000" dirty="0"/>
              <a:t>© Siemens </a:t>
            </a:r>
            <a:r>
              <a:rPr lang="en-US" sz="1000" dirty="0" smtClean="0"/>
              <a:t>Canada 2017</a:t>
            </a:r>
            <a:endParaRPr lang="en-US" sz="1000" dirty="0"/>
          </a:p>
        </p:txBody>
      </p:sp>
      <p:pic>
        <p:nvPicPr>
          <p:cNvPr id="105474" name="Picture 2" descr="C:\Users\heidbu-l\Desktop\sie-logo-layer-claim-fr-petrol-rg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33975" y="318056"/>
            <a:ext cx="4181980" cy="12210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751278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8" name="Object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451690"/>
              </p:ext>
            </p:extLst>
          </p:nvPr>
        </p:nvGraphicFramePr>
        <p:xfrm>
          <a:off x="2117" y="1589"/>
          <a:ext cx="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3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La numérisation touche tous les aspects de la vie</a:t>
            </a:r>
            <a:endParaRPr lang="en-US" dirty="0"/>
          </a:p>
        </p:txBody>
      </p:sp>
      <p:sp>
        <p:nvSpPr>
          <p:cNvPr id="10" name="BainBulletsConfiguration" hidden="1"/>
          <p:cNvSpPr txBox="1"/>
          <p:nvPr/>
        </p:nvSpPr>
        <p:spPr>
          <a:xfrm>
            <a:off x="16942" y="12700"/>
            <a:ext cx="11859507" cy="169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" dirty="0" smtClean="0">
              <a:solidFill>
                <a:srgbClr val="FFFFFF"/>
              </a:solidFill>
            </a:endParaRPr>
          </a:p>
        </p:txBody>
      </p:sp>
      <p:pic>
        <p:nvPicPr>
          <p:cNvPr id="71684" name="Picture 4" descr="http://www.siemens.com/press/pool/de/pressebilder/2009/corporate_communication/2009-12-cop15/300dpi/SOAXX20091223-13_300dpi.jpg"/>
          <p:cNvPicPr>
            <a:picLocks noChangeAspect="1" noChangeArrowheads="1"/>
          </p:cNvPicPr>
          <p:nvPr/>
        </p:nvPicPr>
        <p:blipFill>
          <a:blip r:embed="rId7"/>
          <a:srcRect l="-589" t="8002" r="-60" b="24164"/>
          <a:stretch>
            <a:fillRect/>
          </a:stretch>
        </p:blipFill>
        <p:spPr bwMode="auto">
          <a:xfrm>
            <a:off x="-70142" y="1268700"/>
            <a:ext cx="12364046" cy="59924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85044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7" name="Picture 5" descr="C:\Users\josef.hofmeister\Desktop\karczewski FR\se_01133242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175" y="-1"/>
            <a:ext cx="12195175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5930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3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 bwMode="gray">
          <a:xfrm>
            <a:off x="627063" y="666776"/>
            <a:ext cx="6232475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fr-CA" sz="2400" dirty="0" smtClean="0">
                <a:solidFill>
                  <a:schemeClr val="bg1"/>
                </a:solidFill>
              </a:rPr>
              <a:t>De la configuration manuelle des machines...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" name="BainBulletsConfiguration" hidden="1"/>
          <p:cNvSpPr txBox="1"/>
          <p:nvPr/>
        </p:nvSpPr>
        <p:spPr bwMode="gray">
          <a:xfrm>
            <a:off x="12700" y="12700"/>
            <a:ext cx="173124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  <a:buFont typeface="Arial" panose="020B0604020202020204" pitchFamily="34" charset="0"/>
              <a:buChar char="‒"/>
            </a:pPr>
            <a:endParaRPr lang="de-DE" sz="1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793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2604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5" descr="C:\Users\josef.hofmeister\Desktop\karczewski FR\se_01133242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175" y="-1"/>
            <a:ext cx="12195175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eck 9"/>
          <p:cNvSpPr/>
          <p:nvPr/>
        </p:nvSpPr>
        <p:spPr bwMode="gray">
          <a:xfrm>
            <a:off x="627063" y="666776"/>
            <a:ext cx="5222584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/>
                <a:sym typeface="Arial"/>
              </a:rPr>
              <a:t>From manual machine configuration…</a:t>
            </a:r>
          </a:p>
        </p:txBody>
      </p:sp>
      <p:pic>
        <p:nvPicPr>
          <p:cNvPr id="37890" name="Picture 2" descr="Z:\JOBS 2\6836_1505_Digitalization_Day\6836_Bilder\01_150615_Digitalization_Day_Hintergruende\6836_Digitalization_Day_Chao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175" y="-1"/>
            <a:ext cx="12196800" cy="6860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2" name="Picture 4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175" y="-1"/>
            <a:ext cx="12197575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 bwMode="gray">
          <a:xfrm>
            <a:off x="630239" y="669951"/>
            <a:ext cx="4294445" cy="369332"/>
          </a:xfrm>
          <a:prstGeom prst="rect">
            <a:avLst/>
          </a:prstGeom>
        </p:spPr>
        <p:txBody>
          <a:bodyPr wrap="none" lIns="0" tIns="0" rIns="0" bIns="0" anchor="ctr" anchorCtr="0">
            <a:spAutoFit/>
          </a:bodyPr>
          <a:lstStyle/>
          <a:p>
            <a:r>
              <a:rPr lang="fr-CA" sz="2400" dirty="0" smtClean="0">
                <a:solidFill>
                  <a:schemeClr val="tx1"/>
                </a:solidFill>
              </a:rPr>
              <a:t>... à la mise en service virtuelle 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" name="BainBulletsConfiguration" hidden="1"/>
          <p:cNvSpPr txBox="1"/>
          <p:nvPr/>
        </p:nvSpPr>
        <p:spPr bwMode="gray">
          <a:xfrm>
            <a:off x="12700" y="12700"/>
            <a:ext cx="173124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171450" indent="-171450">
              <a:spcBef>
                <a:spcPts val="300"/>
              </a:spcBef>
              <a:buClr>
                <a:srgbClr val="3C464B"/>
              </a:buClr>
              <a:buFont typeface="Arial" panose="020B0604020202020204" pitchFamily="34" charset="0"/>
              <a:buChar char="‒"/>
            </a:pPr>
            <a:endParaRPr lang="de-DE" sz="1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08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378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000"/>
                                        <p:tgtEl>
                                          <p:spTgt spid="430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FEEDBA~1\AppData\Local\Temp\vmware-feedbackuser\VMwareDnD\fe064ed0\Digitalization_Day_Background_blue_dark_hexadezimal_code_kor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" y="-2700"/>
            <a:ext cx="12196800" cy="686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eck 3"/>
          <p:cNvSpPr/>
          <p:nvPr/>
        </p:nvSpPr>
        <p:spPr bwMode="auto">
          <a:xfrm>
            <a:off x="410385" y="1124680"/>
            <a:ext cx="11088688" cy="48990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numCol="1" spcCol="72000" rtlCol="0" anchor="t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</a:pPr>
            <a:r>
              <a:rPr lang="fr-CA" sz="4000" b="1" dirty="0" smtClean="0">
                <a:solidFill>
                  <a:schemeClr val="bg1"/>
                </a:solidFill>
                <a:latin typeface="+mn-lt"/>
                <a:cs typeface="Arial"/>
              </a:rPr>
              <a:t>L’essor de 4.0 signifie que les grands ne l’emporteront plus nécessairement sur les petits. 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</a:pPr>
            <a:r>
              <a:rPr lang="fr-CA" sz="4000" b="1" dirty="0" smtClean="0">
                <a:solidFill>
                  <a:schemeClr val="bg1"/>
                </a:solidFill>
                <a:latin typeface="+mn-lt"/>
                <a:cs typeface="Arial"/>
              </a:rPr>
              <a:t>Ce sera plutôt la vitesse d’adaptation qui  l’emportera sur la résistance aux changements. </a:t>
            </a:r>
            <a:endParaRPr lang="en-US" sz="4000" b="1" dirty="0" smtClean="0">
              <a:solidFill>
                <a:schemeClr val="bg1"/>
              </a:solidFill>
              <a:latin typeface="+mn-lt"/>
              <a:cs typeface="Arial"/>
            </a:endParaRPr>
          </a:p>
          <a:p>
            <a:pPr lv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</a:pPr>
            <a:endParaRPr lang="en-US" sz="24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179642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auto">
          <a:xfrm>
            <a:off x="0" y="1560078"/>
            <a:ext cx="12198350" cy="406265"/>
          </a:xfrm>
          <a:prstGeom prst="rect">
            <a:avLst/>
          </a:prstGeom>
          <a:noFill/>
          <a:extLst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10000"/>
              </a:lnSpc>
            </a:pPr>
            <a:endParaRPr lang="en-US" sz="2400" b="1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La numérisation est  aussi une question de main d’</a:t>
            </a:r>
            <a:r>
              <a:rPr lang="fr-CA" dirty="0" err="1" smtClean="0"/>
              <a:t>oeuvre</a:t>
            </a:r>
            <a:endParaRPr lang="en-US" dirty="0"/>
          </a:p>
        </p:txBody>
      </p:sp>
      <p:sp>
        <p:nvSpPr>
          <p:cNvPr id="20" name="Textfeld 167"/>
          <p:cNvSpPr txBox="1"/>
          <p:nvPr/>
        </p:nvSpPr>
        <p:spPr>
          <a:xfrm>
            <a:off x="0" y="1412720"/>
            <a:ext cx="12292035" cy="576080"/>
          </a:xfrm>
          <a:prstGeom prst="rect">
            <a:avLst/>
          </a:pr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</p:spPr>
        <p:txBody>
          <a:bodyPr wrap="square" lIns="287942" tIns="144000" rIns="215957" bIns="216000" anchor="ctr">
            <a:noAutofit/>
          </a:bodyPr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</a:pPr>
            <a:r>
              <a:rPr lang="fr-CA" altLang="de-DE" sz="2800" b="1" dirty="0" smtClean="0">
                <a:solidFill>
                  <a:srgbClr val="FFFFFF"/>
                </a:solidFill>
                <a:latin typeface="Arial"/>
                <a:cs typeface="Arial" charset="0"/>
              </a:rPr>
              <a:t>IL FAUDRA DIRIGER DIFFÉREMMENT</a:t>
            </a:r>
            <a:endParaRPr lang="en-US" altLang="de-DE" sz="2800" b="1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73" name="Grafik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065" y="3460303"/>
            <a:ext cx="559836" cy="1953674"/>
          </a:xfrm>
          <a:prstGeom prst="rect">
            <a:avLst/>
          </a:prstGeom>
        </p:spPr>
      </p:pic>
      <p:sp>
        <p:nvSpPr>
          <p:cNvPr id="85" name="Rad 9"/>
          <p:cNvSpPr/>
          <p:nvPr/>
        </p:nvSpPr>
        <p:spPr bwMode="auto">
          <a:xfrm flipH="1">
            <a:off x="4515420" y="2604494"/>
            <a:ext cx="3057255" cy="1167720"/>
          </a:xfrm>
          <a:custGeom>
            <a:avLst/>
            <a:gdLst>
              <a:gd name="connsiteX0" fmla="*/ 2797856 w 3240000"/>
              <a:gd name="connsiteY0" fmla="*/ 890255 h 3240000"/>
              <a:gd name="connsiteX1" fmla="*/ 3085958 w 3240000"/>
              <a:gd name="connsiteY1" fmla="*/ 933925 h 3240000"/>
              <a:gd name="connsiteX2" fmla="*/ 3240000 w 3240000"/>
              <a:gd name="connsiteY2" fmla="*/ 1620000 h 3240000"/>
              <a:gd name="connsiteX3" fmla="*/ 1620000 w 3240000"/>
              <a:gd name="connsiteY3" fmla="*/ 3240000 h 3240000"/>
              <a:gd name="connsiteX4" fmla="*/ 1582409 w 3240000"/>
              <a:gd name="connsiteY4" fmla="*/ 3238102 h 3240000"/>
              <a:gd name="connsiteX5" fmla="*/ 1764260 w 3240000"/>
              <a:gd name="connsiteY5" fmla="*/ 3010457 h 3240000"/>
              <a:gd name="connsiteX6" fmla="*/ 1592015 w 3240000"/>
              <a:gd name="connsiteY6" fmla="*/ 2794837 h 3240000"/>
              <a:gd name="connsiteX7" fmla="*/ 1620000 w 3240000"/>
              <a:gd name="connsiteY7" fmla="*/ 2796250 h 3240000"/>
              <a:gd name="connsiteX8" fmla="*/ 2796250 w 3240000"/>
              <a:gd name="connsiteY8" fmla="*/ 1620000 h 3240000"/>
              <a:gd name="connsiteX9" fmla="*/ 2696969 w 3240000"/>
              <a:gd name="connsiteY9" fmla="*/ 1147940 h 3240000"/>
              <a:gd name="connsiteX10" fmla="*/ 2797856 w 3240000"/>
              <a:gd name="connsiteY10" fmla="*/ 890255 h 3240000"/>
              <a:gd name="connsiteX11" fmla="*/ 236861 w 3240000"/>
              <a:gd name="connsiteY11" fmla="*/ 779772 h 3240000"/>
              <a:gd name="connsiteX12" fmla="*/ 612901 w 3240000"/>
              <a:gd name="connsiteY12" fmla="*/ 1014584 h 3240000"/>
              <a:gd name="connsiteX13" fmla="*/ 443750 w 3240000"/>
              <a:gd name="connsiteY13" fmla="*/ 1620000 h 3240000"/>
              <a:gd name="connsiteX14" fmla="*/ 1486476 w 3240000"/>
              <a:gd name="connsiteY14" fmla="*/ 2788154 h 3240000"/>
              <a:gd name="connsiteX15" fmla="*/ 1664060 w 3240000"/>
              <a:gd name="connsiteY15" fmla="*/ 3010457 h 3240000"/>
              <a:gd name="connsiteX16" fmla="*/ 1486094 w 3240000"/>
              <a:gd name="connsiteY16" fmla="*/ 3233239 h 3240000"/>
              <a:gd name="connsiteX17" fmla="*/ 0 w 3240000"/>
              <a:gd name="connsiteY17" fmla="*/ 1620000 h 3240000"/>
              <a:gd name="connsiteX18" fmla="*/ 236861 w 3240000"/>
              <a:gd name="connsiteY18" fmla="*/ 779772 h 3240000"/>
              <a:gd name="connsiteX19" fmla="*/ 1620000 w 3240000"/>
              <a:gd name="connsiteY19" fmla="*/ 0 h 3240000"/>
              <a:gd name="connsiteX20" fmla="*/ 3044809 w 3240000"/>
              <a:gd name="connsiteY20" fmla="*/ 848506 h 3240000"/>
              <a:gd name="connsiteX21" fmla="*/ 2747756 w 3240000"/>
              <a:gd name="connsiteY21" fmla="*/ 803479 h 3240000"/>
              <a:gd name="connsiteX22" fmla="*/ 2650212 w 3240000"/>
              <a:gd name="connsiteY22" fmla="*/ 1052627 h 3240000"/>
              <a:gd name="connsiteX23" fmla="*/ 1620000 w 3240000"/>
              <a:gd name="connsiteY23" fmla="*/ 443750 h 3240000"/>
              <a:gd name="connsiteX24" fmla="*/ 671417 w 3240000"/>
              <a:gd name="connsiteY24" fmla="*/ 926533 h 3240000"/>
              <a:gd name="connsiteX25" fmla="*/ 394808 w 3240000"/>
              <a:gd name="connsiteY25" fmla="*/ 968460 h 3240000"/>
              <a:gd name="connsiteX26" fmla="*/ 288885 w 3240000"/>
              <a:gd name="connsiteY26" fmla="*/ 697909 h 3240000"/>
              <a:gd name="connsiteX27" fmla="*/ 1620000 w 3240000"/>
              <a:gd name="connsiteY27" fmla="*/ 0 h 3240000"/>
              <a:gd name="connsiteX0" fmla="*/ 2797856 w 3240000"/>
              <a:gd name="connsiteY0" fmla="*/ 890255 h 3240000"/>
              <a:gd name="connsiteX1" fmla="*/ 3085958 w 3240000"/>
              <a:gd name="connsiteY1" fmla="*/ 933925 h 3240000"/>
              <a:gd name="connsiteX2" fmla="*/ 3240000 w 3240000"/>
              <a:gd name="connsiteY2" fmla="*/ 1620000 h 3240000"/>
              <a:gd name="connsiteX3" fmla="*/ 1620000 w 3240000"/>
              <a:gd name="connsiteY3" fmla="*/ 3240000 h 3240000"/>
              <a:gd name="connsiteX4" fmla="*/ 1582409 w 3240000"/>
              <a:gd name="connsiteY4" fmla="*/ 3238102 h 3240000"/>
              <a:gd name="connsiteX5" fmla="*/ 1764260 w 3240000"/>
              <a:gd name="connsiteY5" fmla="*/ 3010457 h 3240000"/>
              <a:gd name="connsiteX6" fmla="*/ 1592015 w 3240000"/>
              <a:gd name="connsiteY6" fmla="*/ 2794837 h 3240000"/>
              <a:gd name="connsiteX7" fmla="*/ 1620000 w 3240000"/>
              <a:gd name="connsiteY7" fmla="*/ 2796250 h 3240000"/>
              <a:gd name="connsiteX8" fmla="*/ 2796250 w 3240000"/>
              <a:gd name="connsiteY8" fmla="*/ 1620000 h 3240000"/>
              <a:gd name="connsiteX9" fmla="*/ 2696969 w 3240000"/>
              <a:gd name="connsiteY9" fmla="*/ 1147940 h 3240000"/>
              <a:gd name="connsiteX10" fmla="*/ 2797856 w 3240000"/>
              <a:gd name="connsiteY10" fmla="*/ 890255 h 3240000"/>
              <a:gd name="connsiteX11" fmla="*/ 236861 w 3240000"/>
              <a:gd name="connsiteY11" fmla="*/ 779772 h 3240000"/>
              <a:gd name="connsiteX12" fmla="*/ 443750 w 3240000"/>
              <a:gd name="connsiteY12" fmla="*/ 1620000 h 3240000"/>
              <a:gd name="connsiteX13" fmla="*/ 1486476 w 3240000"/>
              <a:gd name="connsiteY13" fmla="*/ 2788154 h 3240000"/>
              <a:gd name="connsiteX14" fmla="*/ 1664060 w 3240000"/>
              <a:gd name="connsiteY14" fmla="*/ 3010457 h 3240000"/>
              <a:gd name="connsiteX15" fmla="*/ 1486094 w 3240000"/>
              <a:gd name="connsiteY15" fmla="*/ 3233239 h 3240000"/>
              <a:gd name="connsiteX16" fmla="*/ 0 w 3240000"/>
              <a:gd name="connsiteY16" fmla="*/ 1620000 h 3240000"/>
              <a:gd name="connsiteX17" fmla="*/ 236861 w 3240000"/>
              <a:gd name="connsiteY17" fmla="*/ 779772 h 3240000"/>
              <a:gd name="connsiteX18" fmla="*/ 1620000 w 3240000"/>
              <a:gd name="connsiteY18" fmla="*/ 0 h 3240000"/>
              <a:gd name="connsiteX19" fmla="*/ 3044809 w 3240000"/>
              <a:gd name="connsiteY19" fmla="*/ 848506 h 3240000"/>
              <a:gd name="connsiteX20" fmla="*/ 2747756 w 3240000"/>
              <a:gd name="connsiteY20" fmla="*/ 803479 h 3240000"/>
              <a:gd name="connsiteX21" fmla="*/ 2650212 w 3240000"/>
              <a:gd name="connsiteY21" fmla="*/ 1052627 h 3240000"/>
              <a:gd name="connsiteX22" fmla="*/ 1620000 w 3240000"/>
              <a:gd name="connsiteY22" fmla="*/ 443750 h 3240000"/>
              <a:gd name="connsiteX23" fmla="*/ 671417 w 3240000"/>
              <a:gd name="connsiteY23" fmla="*/ 926533 h 3240000"/>
              <a:gd name="connsiteX24" fmla="*/ 394808 w 3240000"/>
              <a:gd name="connsiteY24" fmla="*/ 968460 h 3240000"/>
              <a:gd name="connsiteX25" fmla="*/ 288885 w 3240000"/>
              <a:gd name="connsiteY25" fmla="*/ 697909 h 3240000"/>
              <a:gd name="connsiteX26" fmla="*/ 1620000 w 3240000"/>
              <a:gd name="connsiteY26" fmla="*/ 0 h 3240000"/>
              <a:gd name="connsiteX0" fmla="*/ 2842724 w 3284868"/>
              <a:gd name="connsiteY0" fmla="*/ 890255 h 3240000"/>
              <a:gd name="connsiteX1" fmla="*/ 3130826 w 3284868"/>
              <a:gd name="connsiteY1" fmla="*/ 933925 h 3240000"/>
              <a:gd name="connsiteX2" fmla="*/ 3284868 w 3284868"/>
              <a:gd name="connsiteY2" fmla="*/ 1620000 h 3240000"/>
              <a:gd name="connsiteX3" fmla="*/ 1664868 w 3284868"/>
              <a:gd name="connsiteY3" fmla="*/ 3240000 h 3240000"/>
              <a:gd name="connsiteX4" fmla="*/ 1627277 w 3284868"/>
              <a:gd name="connsiteY4" fmla="*/ 3238102 h 3240000"/>
              <a:gd name="connsiteX5" fmla="*/ 1809128 w 3284868"/>
              <a:gd name="connsiteY5" fmla="*/ 3010457 h 3240000"/>
              <a:gd name="connsiteX6" fmla="*/ 1636883 w 3284868"/>
              <a:gd name="connsiteY6" fmla="*/ 2794837 h 3240000"/>
              <a:gd name="connsiteX7" fmla="*/ 1664868 w 3284868"/>
              <a:gd name="connsiteY7" fmla="*/ 2796250 h 3240000"/>
              <a:gd name="connsiteX8" fmla="*/ 2841118 w 3284868"/>
              <a:gd name="connsiteY8" fmla="*/ 1620000 h 3240000"/>
              <a:gd name="connsiteX9" fmla="*/ 2741837 w 3284868"/>
              <a:gd name="connsiteY9" fmla="*/ 1147940 h 3240000"/>
              <a:gd name="connsiteX10" fmla="*/ 2842724 w 3284868"/>
              <a:gd name="connsiteY10" fmla="*/ 890255 h 3240000"/>
              <a:gd name="connsiteX11" fmla="*/ 44868 w 3284868"/>
              <a:gd name="connsiteY11" fmla="*/ 1620000 h 3240000"/>
              <a:gd name="connsiteX12" fmla="*/ 488618 w 3284868"/>
              <a:gd name="connsiteY12" fmla="*/ 1620000 h 3240000"/>
              <a:gd name="connsiteX13" fmla="*/ 1531344 w 3284868"/>
              <a:gd name="connsiteY13" fmla="*/ 2788154 h 3240000"/>
              <a:gd name="connsiteX14" fmla="*/ 1708928 w 3284868"/>
              <a:gd name="connsiteY14" fmla="*/ 3010457 h 3240000"/>
              <a:gd name="connsiteX15" fmla="*/ 1530962 w 3284868"/>
              <a:gd name="connsiteY15" fmla="*/ 3233239 h 3240000"/>
              <a:gd name="connsiteX16" fmla="*/ 44868 w 3284868"/>
              <a:gd name="connsiteY16" fmla="*/ 1620000 h 3240000"/>
              <a:gd name="connsiteX17" fmla="*/ 1664868 w 3284868"/>
              <a:gd name="connsiteY17" fmla="*/ 0 h 3240000"/>
              <a:gd name="connsiteX18" fmla="*/ 3089677 w 3284868"/>
              <a:gd name="connsiteY18" fmla="*/ 848506 h 3240000"/>
              <a:gd name="connsiteX19" fmla="*/ 2792624 w 3284868"/>
              <a:gd name="connsiteY19" fmla="*/ 803479 h 3240000"/>
              <a:gd name="connsiteX20" fmla="*/ 2695080 w 3284868"/>
              <a:gd name="connsiteY20" fmla="*/ 1052627 h 3240000"/>
              <a:gd name="connsiteX21" fmla="*/ 1664868 w 3284868"/>
              <a:gd name="connsiteY21" fmla="*/ 443750 h 3240000"/>
              <a:gd name="connsiteX22" fmla="*/ 716285 w 3284868"/>
              <a:gd name="connsiteY22" fmla="*/ 926533 h 3240000"/>
              <a:gd name="connsiteX23" fmla="*/ 439676 w 3284868"/>
              <a:gd name="connsiteY23" fmla="*/ 968460 h 3240000"/>
              <a:gd name="connsiteX24" fmla="*/ 333753 w 3284868"/>
              <a:gd name="connsiteY24" fmla="*/ 697909 h 3240000"/>
              <a:gd name="connsiteX25" fmla="*/ 1664868 w 3284868"/>
              <a:gd name="connsiteY25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54865 w 2951115"/>
              <a:gd name="connsiteY12" fmla="*/ 1620000 h 3240000"/>
              <a:gd name="connsiteX13" fmla="*/ 1197591 w 2951115"/>
              <a:gd name="connsiteY13" fmla="*/ 2788154 h 3240000"/>
              <a:gd name="connsiteX14" fmla="*/ 1375175 w 2951115"/>
              <a:gd name="connsiteY14" fmla="*/ 3010457 h 3240000"/>
              <a:gd name="connsiteX15" fmla="*/ 1197209 w 2951115"/>
              <a:gd name="connsiteY15" fmla="*/ 3233239 h 3240000"/>
              <a:gd name="connsiteX16" fmla="*/ 1331115 w 2951115"/>
              <a:gd name="connsiteY16" fmla="*/ 0 h 3240000"/>
              <a:gd name="connsiteX17" fmla="*/ 2755924 w 2951115"/>
              <a:gd name="connsiteY17" fmla="*/ 848506 h 3240000"/>
              <a:gd name="connsiteX18" fmla="*/ 2458871 w 2951115"/>
              <a:gd name="connsiteY18" fmla="*/ 803479 h 3240000"/>
              <a:gd name="connsiteX19" fmla="*/ 2361327 w 2951115"/>
              <a:gd name="connsiteY19" fmla="*/ 1052627 h 3240000"/>
              <a:gd name="connsiteX20" fmla="*/ 1331115 w 2951115"/>
              <a:gd name="connsiteY20" fmla="*/ 443750 h 3240000"/>
              <a:gd name="connsiteX21" fmla="*/ 382532 w 2951115"/>
              <a:gd name="connsiteY21" fmla="*/ 926533 h 3240000"/>
              <a:gd name="connsiteX22" fmla="*/ 105923 w 2951115"/>
              <a:gd name="connsiteY22" fmla="*/ 968460 h 3240000"/>
              <a:gd name="connsiteX23" fmla="*/ 0 w 2951115"/>
              <a:gd name="connsiteY23" fmla="*/ 697909 h 3240000"/>
              <a:gd name="connsiteX24" fmla="*/ 1331115 w 2951115"/>
              <a:gd name="connsiteY24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197591 w 2951115"/>
              <a:gd name="connsiteY12" fmla="*/ 2788154 h 3240000"/>
              <a:gd name="connsiteX13" fmla="*/ 1375175 w 2951115"/>
              <a:gd name="connsiteY13" fmla="*/ 3010457 h 3240000"/>
              <a:gd name="connsiteX14" fmla="*/ 1197209 w 2951115"/>
              <a:gd name="connsiteY14" fmla="*/ 3233239 h 3240000"/>
              <a:gd name="connsiteX15" fmla="*/ 1331115 w 2951115"/>
              <a:gd name="connsiteY15" fmla="*/ 0 h 3240000"/>
              <a:gd name="connsiteX16" fmla="*/ 2755924 w 2951115"/>
              <a:gd name="connsiteY16" fmla="*/ 848506 h 3240000"/>
              <a:gd name="connsiteX17" fmla="*/ 2458871 w 2951115"/>
              <a:gd name="connsiteY17" fmla="*/ 803479 h 3240000"/>
              <a:gd name="connsiteX18" fmla="*/ 2361327 w 2951115"/>
              <a:gd name="connsiteY18" fmla="*/ 1052627 h 3240000"/>
              <a:gd name="connsiteX19" fmla="*/ 1331115 w 2951115"/>
              <a:gd name="connsiteY19" fmla="*/ 443750 h 3240000"/>
              <a:gd name="connsiteX20" fmla="*/ 382532 w 2951115"/>
              <a:gd name="connsiteY20" fmla="*/ 926533 h 3240000"/>
              <a:gd name="connsiteX21" fmla="*/ 105923 w 2951115"/>
              <a:gd name="connsiteY21" fmla="*/ 968460 h 3240000"/>
              <a:gd name="connsiteX22" fmla="*/ 0 w 2951115"/>
              <a:gd name="connsiteY22" fmla="*/ 697909 h 3240000"/>
              <a:gd name="connsiteX23" fmla="*/ 1331115 w 2951115"/>
              <a:gd name="connsiteY23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375175 w 2951115"/>
              <a:gd name="connsiteY12" fmla="*/ 3010457 h 3240000"/>
              <a:gd name="connsiteX13" fmla="*/ 1197209 w 2951115"/>
              <a:gd name="connsiteY13" fmla="*/ 3233239 h 3240000"/>
              <a:gd name="connsiteX14" fmla="*/ 1331115 w 2951115"/>
              <a:gd name="connsiteY14" fmla="*/ 0 h 3240000"/>
              <a:gd name="connsiteX15" fmla="*/ 2755924 w 2951115"/>
              <a:gd name="connsiteY15" fmla="*/ 848506 h 3240000"/>
              <a:gd name="connsiteX16" fmla="*/ 2458871 w 2951115"/>
              <a:gd name="connsiteY16" fmla="*/ 803479 h 3240000"/>
              <a:gd name="connsiteX17" fmla="*/ 2361327 w 2951115"/>
              <a:gd name="connsiteY17" fmla="*/ 1052627 h 3240000"/>
              <a:gd name="connsiteX18" fmla="*/ 1331115 w 2951115"/>
              <a:gd name="connsiteY18" fmla="*/ 443750 h 3240000"/>
              <a:gd name="connsiteX19" fmla="*/ 382532 w 2951115"/>
              <a:gd name="connsiteY19" fmla="*/ 926533 h 3240000"/>
              <a:gd name="connsiteX20" fmla="*/ 105923 w 2951115"/>
              <a:gd name="connsiteY20" fmla="*/ 968460 h 3240000"/>
              <a:gd name="connsiteX21" fmla="*/ 0 w 2951115"/>
              <a:gd name="connsiteY21" fmla="*/ 697909 h 3240000"/>
              <a:gd name="connsiteX22" fmla="*/ 1331115 w 2951115"/>
              <a:gd name="connsiteY22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331115 w 2951115"/>
              <a:gd name="connsiteY11" fmla="*/ 0 h 3240000"/>
              <a:gd name="connsiteX12" fmla="*/ 2755924 w 2951115"/>
              <a:gd name="connsiteY12" fmla="*/ 848506 h 3240000"/>
              <a:gd name="connsiteX13" fmla="*/ 2458871 w 2951115"/>
              <a:gd name="connsiteY13" fmla="*/ 803479 h 3240000"/>
              <a:gd name="connsiteX14" fmla="*/ 2361327 w 2951115"/>
              <a:gd name="connsiteY14" fmla="*/ 1052627 h 3240000"/>
              <a:gd name="connsiteX15" fmla="*/ 1331115 w 2951115"/>
              <a:gd name="connsiteY15" fmla="*/ 443750 h 3240000"/>
              <a:gd name="connsiteX16" fmla="*/ 382532 w 2951115"/>
              <a:gd name="connsiteY16" fmla="*/ 926533 h 3240000"/>
              <a:gd name="connsiteX17" fmla="*/ 105923 w 2951115"/>
              <a:gd name="connsiteY17" fmla="*/ 968460 h 3240000"/>
              <a:gd name="connsiteX18" fmla="*/ 0 w 2951115"/>
              <a:gd name="connsiteY18" fmla="*/ 697909 h 3240000"/>
              <a:gd name="connsiteX19" fmla="*/ 1331115 w 2951115"/>
              <a:gd name="connsiteY19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303130 w 2951115"/>
              <a:gd name="connsiteY5" fmla="*/ 2794837 h 3240000"/>
              <a:gd name="connsiteX6" fmla="*/ 1331115 w 2951115"/>
              <a:gd name="connsiteY6" fmla="*/ 2796250 h 3240000"/>
              <a:gd name="connsiteX7" fmla="*/ 2507365 w 2951115"/>
              <a:gd name="connsiteY7" fmla="*/ 1620000 h 3240000"/>
              <a:gd name="connsiteX8" fmla="*/ 2408084 w 2951115"/>
              <a:gd name="connsiteY8" fmla="*/ 1147940 h 3240000"/>
              <a:gd name="connsiteX9" fmla="*/ 2508971 w 2951115"/>
              <a:gd name="connsiteY9" fmla="*/ 890255 h 3240000"/>
              <a:gd name="connsiteX10" fmla="*/ 1331115 w 2951115"/>
              <a:gd name="connsiteY10" fmla="*/ 0 h 3240000"/>
              <a:gd name="connsiteX11" fmla="*/ 2755924 w 2951115"/>
              <a:gd name="connsiteY11" fmla="*/ 848506 h 3240000"/>
              <a:gd name="connsiteX12" fmla="*/ 2458871 w 2951115"/>
              <a:gd name="connsiteY12" fmla="*/ 803479 h 3240000"/>
              <a:gd name="connsiteX13" fmla="*/ 2361327 w 2951115"/>
              <a:gd name="connsiteY13" fmla="*/ 1052627 h 3240000"/>
              <a:gd name="connsiteX14" fmla="*/ 1331115 w 2951115"/>
              <a:gd name="connsiteY14" fmla="*/ 443750 h 3240000"/>
              <a:gd name="connsiteX15" fmla="*/ 382532 w 2951115"/>
              <a:gd name="connsiteY15" fmla="*/ 926533 h 3240000"/>
              <a:gd name="connsiteX16" fmla="*/ 105923 w 2951115"/>
              <a:gd name="connsiteY16" fmla="*/ 968460 h 3240000"/>
              <a:gd name="connsiteX17" fmla="*/ 0 w 2951115"/>
              <a:gd name="connsiteY17" fmla="*/ 697909 h 3240000"/>
              <a:gd name="connsiteX18" fmla="*/ 1331115 w 2951115"/>
              <a:gd name="connsiteY18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303130 w 2951115"/>
              <a:gd name="connsiteY5" fmla="*/ 2794837 h 3240000"/>
              <a:gd name="connsiteX6" fmla="*/ 2507365 w 2951115"/>
              <a:gd name="connsiteY6" fmla="*/ 1620000 h 3240000"/>
              <a:gd name="connsiteX7" fmla="*/ 2408084 w 2951115"/>
              <a:gd name="connsiteY7" fmla="*/ 1147940 h 3240000"/>
              <a:gd name="connsiteX8" fmla="*/ 2508971 w 2951115"/>
              <a:gd name="connsiteY8" fmla="*/ 890255 h 3240000"/>
              <a:gd name="connsiteX9" fmla="*/ 1331115 w 2951115"/>
              <a:gd name="connsiteY9" fmla="*/ 0 h 3240000"/>
              <a:gd name="connsiteX10" fmla="*/ 2755924 w 2951115"/>
              <a:gd name="connsiteY10" fmla="*/ 848506 h 3240000"/>
              <a:gd name="connsiteX11" fmla="*/ 2458871 w 2951115"/>
              <a:gd name="connsiteY11" fmla="*/ 803479 h 3240000"/>
              <a:gd name="connsiteX12" fmla="*/ 2361327 w 2951115"/>
              <a:gd name="connsiteY12" fmla="*/ 1052627 h 3240000"/>
              <a:gd name="connsiteX13" fmla="*/ 1331115 w 2951115"/>
              <a:gd name="connsiteY13" fmla="*/ 443750 h 3240000"/>
              <a:gd name="connsiteX14" fmla="*/ 382532 w 2951115"/>
              <a:gd name="connsiteY14" fmla="*/ 926533 h 3240000"/>
              <a:gd name="connsiteX15" fmla="*/ 105923 w 2951115"/>
              <a:gd name="connsiteY15" fmla="*/ 968460 h 3240000"/>
              <a:gd name="connsiteX16" fmla="*/ 0 w 2951115"/>
              <a:gd name="connsiteY16" fmla="*/ 697909 h 3240000"/>
              <a:gd name="connsiteX17" fmla="*/ 1331115 w 2951115"/>
              <a:gd name="connsiteY17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303130 w 2951115"/>
              <a:gd name="connsiteY4" fmla="*/ 2794837 h 3240000"/>
              <a:gd name="connsiteX5" fmla="*/ 2507365 w 2951115"/>
              <a:gd name="connsiteY5" fmla="*/ 1620000 h 3240000"/>
              <a:gd name="connsiteX6" fmla="*/ 2408084 w 2951115"/>
              <a:gd name="connsiteY6" fmla="*/ 1147940 h 3240000"/>
              <a:gd name="connsiteX7" fmla="*/ 2508971 w 2951115"/>
              <a:gd name="connsiteY7" fmla="*/ 890255 h 3240000"/>
              <a:gd name="connsiteX8" fmla="*/ 1331115 w 2951115"/>
              <a:gd name="connsiteY8" fmla="*/ 0 h 3240000"/>
              <a:gd name="connsiteX9" fmla="*/ 2755924 w 2951115"/>
              <a:gd name="connsiteY9" fmla="*/ 848506 h 3240000"/>
              <a:gd name="connsiteX10" fmla="*/ 2458871 w 2951115"/>
              <a:gd name="connsiteY10" fmla="*/ 803479 h 3240000"/>
              <a:gd name="connsiteX11" fmla="*/ 2361327 w 2951115"/>
              <a:gd name="connsiteY11" fmla="*/ 1052627 h 3240000"/>
              <a:gd name="connsiteX12" fmla="*/ 1331115 w 2951115"/>
              <a:gd name="connsiteY12" fmla="*/ 443750 h 3240000"/>
              <a:gd name="connsiteX13" fmla="*/ 382532 w 2951115"/>
              <a:gd name="connsiteY13" fmla="*/ 926533 h 3240000"/>
              <a:gd name="connsiteX14" fmla="*/ 105923 w 2951115"/>
              <a:gd name="connsiteY14" fmla="*/ 968460 h 3240000"/>
              <a:gd name="connsiteX15" fmla="*/ 0 w 2951115"/>
              <a:gd name="connsiteY15" fmla="*/ 697909 h 3240000"/>
              <a:gd name="connsiteX16" fmla="*/ 1331115 w 2951115"/>
              <a:gd name="connsiteY16" fmla="*/ 0 h 3240000"/>
              <a:gd name="connsiteX0" fmla="*/ 2508971 w 3046910"/>
              <a:gd name="connsiteY0" fmla="*/ 890255 h 2794837"/>
              <a:gd name="connsiteX1" fmla="*/ 2797073 w 3046910"/>
              <a:gd name="connsiteY1" fmla="*/ 933925 h 2794837"/>
              <a:gd name="connsiteX2" fmla="*/ 2951115 w 3046910"/>
              <a:gd name="connsiteY2" fmla="*/ 1620000 h 2794837"/>
              <a:gd name="connsiteX3" fmla="*/ 1303130 w 3046910"/>
              <a:gd name="connsiteY3" fmla="*/ 2794837 h 2794837"/>
              <a:gd name="connsiteX4" fmla="*/ 2507365 w 3046910"/>
              <a:gd name="connsiteY4" fmla="*/ 1620000 h 2794837"/>
              <a:gd name="connsiteX5" fmla="*/ 2408084 w 3046910"/>
              <a:gd name="connsiteY5" fmla="*/ 1147940 h 2794837"/>
              <a:gd name="connsiteX6" fmla="*/ 2508971 w 3046910"/>
              <a:gd name="connsiteY6" fmla="*/ 890255 h 2794837"/>
              <a:gd name="connsiteX7" fmla="*/ 1331115 w 3046910"/>
              <a:gd name="connsiteY7" fmla="*/ 0 h 2794837"/>
              <a:gd name="connsiteX8" fmla="*/ 2755924 w 3046910"/>
              <a:gd name="connsiteY8" fmla="*/ 848506 h 2794837"/>
              <a:gd name="connsiteX9" fmla="*/ 2458871 w 3046910"/>
              <a:gd name="connsiteY9" fmla="*/ 803479 h 2794837"/>
              <a:gd name="connsiteX10" fmla="*/ 2361327 w 3046910"/>
              <a:gd name="connsiteY10" fmla="*/ 1052627 h 2794837"/>
              <a:gd name="connsiteX11" fmla="*/ 1331115 w 3046910"/>
              <a:gd name="connsiteY11" fmla="*/ 443750 h 2794837"/>
              <a:gd name="connsiteX12" fmla="*/ 382532 w 3046910"/>
              <a:gd name="connsiteY12" fmla="*/ 926533 h 2794837"/>
              <a:gd name="connsiteX13" fmla="*/ 105923 w 3046910"/>
              <a:gd name="connsiteY13" fmla="*/ 968460 h 2794837"/>
              <a:gd name="connsiteX14" fmla="*/ 0 w 3046910"/>
              <a:gd name="connsiteY14" fmla="*/ 697909 h 2794837"/>
              <a:gd name="connsiteX15" fmla="*/ 1331115 w 3046910"/>
              <a:gd name="connsiteY15" fmla="*/ 0 h 2794837"/>
              <a:gd name="connsiteX0" fmla="*/ 2508971 w 2963402"/>
              <a:gd name="connsiteY0" fmla="*/ 890255 h 1692991"/>
              <a:gd name="connsiteX1" fmla="*/ 2797073 w 2963402"/>
              <a:gd name="connsiteY1" fmla="*/ 933925 h 1692991"/>
              <a:gd name="connsiteX2" fmla="*/ 2951115 w 2963402"/>
              <a:gd name="connsiteY2" fmla="*/ 1620000 h 1692991"/>
              <a:gd name="connsiteX3" fmla="*/ 2507365 w 2963402"/>
              <a:gd name="connsiteY3" fmla="*/ 1620000 h 1692991"/>
              <a:gd name="connsiteX4" fmla="*/ 2408084 w 2963402"/>
              <a:gd name="connsiteY4" fmla="*/ 1147940 h 1692991"/>
              <a:gd name="connsiteX5" fmla="*/ 2508971 w 2963402"/>
              <a:gd name="connsiteY5" fmla="*/ 890255 h 1692991"/>
              <a:gd name="connsiteX6" fmla="*/ 1331115 w 2963402"/>
              <a:gd name="connsiteY6" fmla="*/ 0 h 1692991"/>
              <a:gd name="connsiteX7" fmla="*/ 2755924 w 2963402"/>
              <a:gd name="connsiteY7" fmla="*/ 848506 h 1692991"/>
              <a:gd name="connsiteX8" fmla="*/ 2458871 w 2963402"/>
              <a:gd name="connsiteY8" fmla="*/ 803479 h 1692991"/>
              <a:gd name="connsiteX9" fmla="*/ 2361327 w 2963402"/>
              <a:gd name="connsiteY9" fmla="*/ 1052627 h 1692991"/>
              <a:gd name="connsiteX10" fmla="*/ 1331115 w 2963402"/>
              <a:gd name="connsiteY10" fmla="*/ 443750 h 1692991"/>
              <a:gd name="connsiteX11" fmla="*/ 382532 w 2963402"/>
              <a:gd name="connsiteY11" fmla="*/ 926533 h 1692991"/>
              <a:gd name="connsiteX12" fmla="*/ 105923 w 2963402"/>
              <a:gd name="connsiteY12" fmla="*/ 968460 h 1692991"/>
              <a:gd name="connsiteX13" fmla="*/ 0 w 2963402"/>
              <a:gd name="connsiteY13" fmla="*/ 697909 h 1692991"/>
              <a:gd name="connsiteX14" fmla="*/ 1331115 w 2963402"/>
              <a:gd name="connsiteY14" fmla="*/ 0 h 1692991"/>
              <a:gd name="connsiteX0" fmla="*/ 2508971 w 2969536"/>
              <a:gd name="connsiteY0" fmla="*/ 890255 h 1622317"/>
              <a:gd name="connsiteX1" fmla="*/ 2797073 w 2969536"/>
              <a:gd name="connsiteY1" fmla="*/ 933925 h 1622317"/>
              <a:gd name="connsiteX2" fmla="*/ 2951115 w 2969536"/>
              <a:gd name="connsiteY2" fmla="*/ 1620000 h 1622317"/>
              <a:gd name="connsiteX3" fmla="*/ 2408084 w 2969536"/>
              <a:gd name="connsiteY3" fmla="*/ 1147940 h 1622317"/>
              <a:gd name="connsiteX4" fmla="*/ 2508971 w 2969536"/>
              <a:gd name="connsiteY4" fmla="*/ 890255 h 1622317"/>
              <a:gd name="connsiteX5" fmla="*/ 1331115 w 2969536"/>
              <a:gd name="connsiteY5" fmla="*/ 0 h 1622317"/>
              <a:gd name="connsiteX6" fmla="*/ 2755924 w 2969536"/>
              <a:gd name="connsiteY6" fmla="*/ 848506 h 1622317"/>
              <a:gd name="connsiteX7" fmla="*/ 2458871 w 2969536"/>
              <a:gd name="connsiteY7" fmla="*/ 803479 h 1622317"/>
              <a:gd name="connsiteX8" fmla="*/ 2361327 w 2969536"/>
              <a:gd name="connsiteY8" fmla="*/ 1052627 h 1622317"/>
              <a:gd name="connsiteX9" fmla="*/ 1331115 w 2969536"/>
              <a:gd name="connsiteY9" fmla="*/ 443750 h 1622317"/>
              <a:gd name="connsiteX10" fmla="*/ 382532 w 2969536"/>
              <a:gd name="connsiteY10" fmla="*/ 926533 h 1622317"/>
              <a:gd name="connsiteX11" fmla="*/ 105923 w 2969536"/>
              <a:gd name="connsiteY11" fmla="*/ 968460 h 1622317"/>
              <a:gd name="connsiteX12" fmla="*/ 0 w 2969536"/>
              <a:gd name="connsiteY12" fmla="*/ 697909 h 1622317"/>
              <a:gd name="connsiteX13" fmla="*/ 1331115 w 2969536"/>
              <a:gd name="connsiteY13" fmla="*/ 0 h 1622317"/>
              <a:gd name="connsiteX0" fmla="*/ 2408084 w 2969536"/>
              <a:gd name="connsiteY0" fmla="*/ 1147940 h 1622317"/>
              <a:gd name="connsiteX1" fmla="*/ 2797073 w 2969536"/>
              <a:gd name="connsiteY1" fmla="*/ 933925 h 1622317"/>
              <a:gd name="connsiteX2" fmla="*/ 2951115 w 2969536"/>
              <a:gd name="connsiteY2" fmla="*/ 1620000 h 1622317"/>
              <a:gd name="connsiteX3" fmla="*/ 2408084 w 2969536"/>
              <a:gd name="connsiteY3" fmla="*/ 1147940 h 1622317"/>
              <a:gd name="connsiteX4" fmla="*/ 1331115 w 2969536"/>
              <a:gd name="connsiteY4" fmla="*/ 0 h 1622317"/>
              <a:gd name="connsiteX5" fmla="*/ 2755924 w 2969536"/>
              <a:gd name="connsiteY5" fmla="*/ 848506 h 1622317"/>
              <a:gd name="connsiteX6" fmla="*/ 2458871 w 2969536"/>
              <a:gd name="connsiteY6" fmla="*/ 803479 h 1622317"/>
              <a:gd name="connsiteX7" fmla="*/ 2361327 w 2969536"/>
              <a:gd name="connsiteY7" fmla="*/ 1052627 h 1622317"/>
              <a:gd name="connsiteX8" fmla="*/ 1331115 w 2969536"/>
              <a:gd name="connsiteY8" fmla="*/ 443750 h 1622317"/>
              <a:gd name="connsiteX9" fmla="*/ 382532 w 2969536"/>
              <a:gd name="connsiteY9" fmla="*/ 926533 h 1622317"/>
              <a:gd name="connsiteX10" fmla="*/ 105923 w 2969536"/>
              <a:gd name="connsiteY10" fmla="*/ 968460 h 1622317"/>
              <a:gd name="connsiteX11" fmla="*/ 0 w 2969536"/>
              <a:gd name="connsiteY11" fmla="*/ 697909 h 1622317"/>
              <a:gd name="connsiteX12" fmla="*/ 1331115 w 2969536"/>
              <a:gd name="connsiteY12" fmla="*/ 0 h 1622317"/>
              <a:gd name="connsiteX0" fmla="*/ 2408084 w 2951115"/>
              <a:gd name="connsiteY0" fmla="*/ 1147940 h 1622317"/>
              <a:gd name="connsiteX1" fmla="*/ 2951115 w 2951115"/>
              <a:gd name="connsiteY1" fmla="*/ 1620000 h 1622317"/>
              <a:gd name="connsiteX2" fmla="*/ 2408084 w 2951115"/>
              <a:gd name="connsiteY2" fmla="*/ 1147940 h 1622317"/>
              <a:gd name="connsiteX3" fmla="*/ 1331115 w 2951115"/>
              <a:gd name="connsiteY3" fmla="*/ 0 h 1622317"/>
              <a:gd name="connsiteX4" fmla="*/ 2755924 w 2951115"/>
              <a:gd name="connsiteY4" fmla="*/ 848506 h 1622317"/>
              <a:gd name="connsiteX5" fmla="*/ 2458871 w 2951115"/>
              <a:gd name="connsiteY5" fmla="*/ 803479 h 1622317"/>
              <a:gd name="connsiteX6" fmla="*/ 2361327 w 2951115"/>
              <a:gd name="connsiteY6" fmla="*/ 1052627 h 1622317"/>
              <a:gd name="connsiteX7" fmla="*/ 1331115 w 2951115"/>
              <a:gd name="connsiteY7" fmla="*/ 443750 h 1622317"/>
              <a:gd name="connsiteX8" fmla="*/ 382532 w 2951115"/>
              <a:gd name="connsiteY8" fmla="*/ 926533 h 1622317"/>
              <a:gd name="connsiteX9" fmla="*/ 105923 w 2951115"/>
              <a:gd name="connsiteY9" fmla="*/ 968460 h 1622317"/>
              <a:gd name="connsiteX10" fmla="*/ 0 w 2951115"/>
              <a:gd name="connsiteY10" fmla="*/ 697909 h 1622317"/>
              <a:gd name="connsiteX11" fmla="*/ 1331115 w 2951115"/>
              <a:gd name="connsiteY11" fmla="*/ 0 h 1622317"/>
              <a:gd name="connsiteX0" fmla="*/ 1331115 w 2755924"/>
              <a:gd name="connsiteY0" fmla="*/ 0 h 1052627"/>
              <a:gd name="connsiteX1" fmla="*/ 2755924 w 2755924"/>
              <a:gd name="connsiteY1" fmla="*/ 848506 h 1052627"/>
              <a:gd name="connsiteX2" fmla="*/ 2458871 w 2755924"/>
              <a:gd name="connsiteY2" fmla="*/ 803479 h 1052627"/>
              <a:gd name="connsiteX3" fmla="*/ 2361327 w 2755924"/>
              <a:gd name="connsiteY3" fmla="*/ 1052627 h 1052627"/>
              <a:gd name="connsiteX4" fmla="*/ 1331115 w 2755924"/>
              <a:gd name="connsiteY4" fmla="*/ 443750 h 1052627"/>
              <a:gd name="connsiteX5" fmla="*/ 382532 w 2755924"/>
              <a:gd name="connsiteY5" fmla="*/ 926533 h 1052627"/>
              <a:gd name="connsiteX6" fmla="*/ 105923 w 2755924"/>
              <a:gd name="connsiteY6" fmla="*/ 968460 h 1052627"/>
              <a:gd name="connsiteX7" fmla="*/ 0 w 2755924"/>
              <a:gd name="connsiteY7" fmla="*/ 697909 h 1052627"/>
              <a:gd name="connsiteX8" fmla="*/ 1331115 w 2755924"/>
              <a:gd name="connsiteY8" fmla="*/ 0 h 1052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55924" h="1052627">
                <a:moveTo>
                  <a:pt x="1331115" y="0"/>
                </a:moveTo>
                <a:cubicBezTo>
                  <a:pt x="1946497" y="0"/>
                  <a:pt x="2481738" y="343123"/>
                  <a:pt x="2755924" y="848506"/>
                </a:cubicBezTo>
                <a:lnTo>
                  <a:pt x="2458871" y="803479"/>
                </a:lnTo>
                <a:lnTo>
                  <a:pt x="2361327" y="1052627"/>
                </a:lnTo>
                <a:cubicBezTo>
                  <a:pt x="2161347" y="689556"/>
                  <a:pt x="1774936" y="443750"/>
                  <a:pt x="1331115" y="443750"/>
                </a:cubicBezTo>
                <a:cubicBezTo>
                  <a:pt x="941142" y="443750"/>
                  <a:pt x="595494" y="633528"/>
                  <a:pt x="382532" y="926533"/>
                </a:cubicBezTo>
                <a:lnTo>
                  <a:pt x="105923" y="968460"/>
                </a:lnTo>
                <a:lnTo>
                  <a:pt x="0" y="697909"/>
                </a:lnTo>
                <a:cubicBezTo>
                  <a:pt x="291808" y="275964"/>
                  <a:pt x="779234" y="0"/>
                  <a:pt x="1331115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86" name="Rad 9"/>
          <p:cNvSpPr/>
          <p:nvPr/>
        </p:nvSpPr>
        <p:spPr bwMode="auto">
          <a:xfrm rot="7200000" flipH="1">
            <a:off x="5642918" y="4382612"/>
            <a:ext cx="3057254" cy="1167721"/>
          </a:xfrm>
          <a:custGeom>
            <a:avLst/>
            <a:gdLst>
              <a:gd name="connsiteX0" fmla="*/ 2797856 w 3240000"/>
              <a:gd name="connsiteY0" fmla="*/ 890255 h 3240000"/>
              <a:gd name="connsiteX1" fmla="*/ 3085958 w 3240000"/>
              <a:gd name="connsiteY1" fmla="*/ 933925 h 3240000"/>
              <a:gd name="connsiteX2" fmla="*/ 3240000 w 3240000"/>
              <a:gd name="connsiteY2" fmla="*/ 1620000 h 3240000"/>
              <a:gd name="connsiteX3" fmla="*/ 1620000 w 3240000"/>
              <a:gd name="connsiteY3" fmla="*/ 3240000 h 3240000"/>
              <a:gd name="connsiteX4" fmla="*/ 1582409 w 3240000"/>
              <a:gd name="connsiteY4" fmla="*/ 3238102 h 3240000"/>
              <a:gd name="connsiteX5" fmla="*/ 1764260 w 3240000"/>
              <a:gd name="connsiteY5" fmla="*/ 3010457 h 3240000"/>
              <a:gd name="connsiteX6" fmla="*/ 1592015 w 3240000"/>
              <a:gd name="connsiteY6" fmla="*/ 2794837 h 3240000"/>
              <a:gd name="connsiteX7" fmla="*/ 1620000 w 3240000"/>
              <a:gd name="connsiteY7" fmla="*/ 2796250 h 3240000"/>
              <a:gd name="connsiteX8" fmla="*/ 2796250 w 3240000"/>
              <a:gd name="connsiteY8" fmla="*/ 1620000 h 3240000"/>
              <a:gd name="connsiteX9" fmla="*/ 2696969 w 3240000"/>
              <a:gd name="connsiteY9" fmla="*/ 1147940 h 3240000"/>
              <a:gd name="connsiteX10" fmla="*/ 2797856 w 3240000"/>
              <a:gd name="connsiteY10" fmla="*/ 890255 h 3240000"/>
              <a:gd name="connsiteX11" fmla="*/ 236861 w 3240000"/>
              <a:gd name="connsiteY11" fmla="*/ 779772 h 3240000"/>
              <a:gd name="connsiteX12" fmla="*/ 612901 w 3240000"/>
              <a:gd name="connsiteY12" fmla="*/ 1014584 h 3240000"/>
              <a:gd name="connsiteX13" fmla="*/ 443750 w 3240000"/>
              <a:gd name="connsiteY13" fmla="*/ 1620000 h 3240000"/>
              <a:gd name="connsiteX14" fmla="*/ 1486476 w 3240000"/>
              <a:gd name="connsiteY14" fmla="*/ 2788154 h 3240000"/>
              <a:gd name="connsiteX15" fmla="*/ 1664060 w 3240000"/>
              <a:gd name="connsiteY15" fmla="*/ 3010457 h 3240000"/>
              <a:gd name="connsiteX16" fmla="*/ 1486094 w 3240000"/>
              <a:gd name="connsiteY16" fmla="*/ 3233239 h 3240000"/>
              <a:gd name="connsiteX17" fmla="*/ 0 w 3240000"/>
              <a:gd name="connsiteY17" fmla="*/ 1620000 h 3240000"/>
              <a:gd name="connsiteX18" fmla="*/ 236861 w 3240000"/>
              <a:gd name="connsiteY18" fmla="*/ 779772 h 3240000"/>
              <a:gd name="connsiteX19" fmla="*/ 1620000 w 3240000"/>
              <a:gd name="connsiteY19" fmla="*/ 0 h 3240000"/>
              <a:gd name="connsiteX20" fmla="*/ 3044809 w 3240000"/>
              <a:gd name="connsiteY20" fmla="*/ 848506 h 3240000"/>
              <a:gd name="connsiteX21" fmla="*/ 2747756 w 3240000"/>
              <a:gd name="connsiteY21" fmla="*/ 803479 h 3240000"/>
              <a:gd name="connsiteX22" fmla="*/ 2650212 w 3240000"/>
              <a:gd name="connsiteY22" fmla="*/ 1052627 h 3240000"/>
              <a:gd name="connsiteX23" fmla="*/ 1620000 w 3240000"/>
              <a:gd name="connsiteY23" fmla="*/ 443750 h 3240000"/>
              <a:gd name="connsiteX24" fmla="*/ 671417 w 3240000"/>
              <a:gd name="connsiteY24" fmla="*/ 926533 h 3240000"/>
              <a:gd name="connsiteX25" fmla="*/ 394808 w 3240000"/>
              <a:gd name="connsiteY25" fmla="*/ 968460 h 3240000"/>
              <a:gd name="connsiteX26" fmla="*/ 288885 w 3240000"/>
              <a:gd name="connsiteY26" fmla="*/ 697909 h 3240000"/>
              <a:gd name="connsiteX27" fmla="*/ 1620000 w 3240000"/>
              <a:gd name="connsiteY27" fmla="*/ 0 h 3240000"/>
              <a:gd name="connsiteX0" fmla="*/ 2797856 w 3240000"/>
              <a:gd name="connsiteY0" fmla="*/ 890255 h 3240000"/>
              <a:gd name="connsiteX1" fmla="*/ 3085958 w 3240000"/>
              <a:gd name="connsiteY1" fmla="*/ 933925 h 3240000"/>
              <a:gd name="connsiteX2" fmla="*/ 3240000 w 3240000"/>
              <a:gd name="connsiteY2" fmla="*/ 1620000 h 3240000"/>
              <a:gd name="connsiteX3" fmla="*/ 1620000 w 3240000"/>
              <a:gd name="connsiteY3" fmla="*/ 3240000 h 3240000"/>
              <a:gd name="connsiteX4" fmla="*/ 1582409 w 3240000"/>
              <a:gd name="connsiteY4" fmla="*/ 3238102 h 3240000"/>
              <a:gd name="connsiteX5" fmla="*/ 1764260 w 3240000"/>
              <a:gd name="connsiteY5" fmla="*/ 3010457 h 3240000"/>
              <a:gd name="connsiteX6" fmla="*/ 1592015 w 3240000"/>
              <a:gd name="connsiteY6" fmla="*/ 2794837 h 3240000"/>
              <a:gd name="connsiteX7" fmla="*/ 1620000 w 3240000"/>
              <a:gd name="connsiteY7" fmla="*/ 2796250 h 3240000"/>
              <a:gd name="connsiteX8" fmla="*/ 2796250 w 3240000"/>
              <a:gd name="connsiteY8" fmla="*/ 1620000 h 3240000"/>
              <a:gd name="connsiteX9" fmla="*/ 2696969 w 3240000"/>
              <a:gd name="connsiteY9" fmla="*/ 1147940 h 3240000"/>
              <a:gd name="connsiteX10" fmla="*/ 2797856 w 3240000"/>
              <a:gd name="connsiteY10" fmla="*/ 890255 h 3240000"/>
              <a:gd name="connsiteX11" fmla="*/ 236861 w 3240000"/>
              <a:gd name="connsiteY11" fmla="*/ 779772 h 3240000"/>
              <a:gd name="connsiteX12" fmla="*/ 443750 w 3240000"/>
              <a:gd name="connsiteY12" fmla="*/ 1620000 h 3240000"/>
              <a:gd name="connsiteX13" fmla="*/ 1486476 w 3240000"/>
              <a:gd name="connsiteY13" fmla="*/ 2788154 h 3240000"/>
              <a:gd name="connsiteX14" fmla="*/ 1664060 w 3240000"/>
              <a:gd name="connsiteY14" fmla="*/ 3010457 h 3240000"/>
              <a:gd name="connsiteX15" fmla="*/ 1486094 w 3240000"/>
              <a:gd name="connsiteY15" fmla="*/ 3233239 h 3240000"/>
              <a:gd name="connsiteX16" fmla="*/ 0 w 3240000"/>
              <a:gd name="connsiteY16" fmla="*/ 1620000 h 3240000"/>
              <a:gd name="connsiteX17" fmla="*/ 236861 w 3240000"/>
              <a:gd name="connsiteY17" fmla="*/ 779772 h 3240000"/>
              <a:gd name="connsiteX18" fmla="*/ 1620000 w 3240000"/>
              <a:gd name="connsiteY18" fmla="*/ 0 h 3240000"/>
              <a:gd name="connsiteX19" fmla="*/ 3044809 w 3240000"/>
              <a:gd name="connsiteY19" fmla="*/ 848506 h 3240000"/>
              <a:gd name="connsiteX20" fmla="*/ 2747756 w 3240000"/>
              <a:gd name="connsiteY20" fmla="*/ 803479 h 3240000"/>
              <a:gd name="connsiteX21" fmla="*/ 2650212 w 3240000"/>
              <a:gd name="connsiteY21" fmla="*/ 1052627 h 3240000"/>
              <a:gd name="connsiteX22" fmla="*/ 1620000 w 3240000"/>
              <a:gd name="connsiteY22" fmla="*/ 443750 h 3240000"/>
              <a:gd name="connsiteX23" fmla="*/ 671417 w 3240000"/>
              <a:gd name="connsiteY23" fmla="*/ 926533 h 3240000"/>
              <a:gd name="connsiteX24" fmla="*/ 394808 w 3240000"/>
              <a:gd name="connsiteY24" fmla="*/ 968460 h 3240000"/>
              <a:gd name="connsiteX25" fmla="*/ 288885 w 3240000"/>
              <a:gd name="connsiteY25" fmla="*/ 697909 h 3240000"/>
              <a:gd name="connsiteX26" fmla="*/ 1620000 w 3240000"/>
              <a:gd name="connsiteY26" fmla="*/ 0 h 3240000"/>
              <a:gd name="connsiteX0" fmla="*/ 2842724 w 3284868"/>
              <a:gd name="connsiteY0" fmla="*/ 890255 h 3240000"/>
              <a:gd name="connsiteX1" fmla="*/ 3130826 w 3284868"/>
              <a:gd name="connsiteY1" fmla="*/ 933925 h 3240000"/>
              <a:gd name="connsiteX2" fmla="*/ 3284868 w 3284868"/>
              <a:gd name="connsiteY2" fmla="*/ 1620000 h 3240000"/>
              <a:gd name="connsiteX3" fmla="*/ 1664868 w 3284868"/>
              <a:gd name="connsiteY3" fmla="*/ 3240000 h 3240000"/>
              <a:gd name="connsiteX4" fmla="*/ 1627277 w 3284868"/>
              <a:gd name="connsiteY4" fmla="*/ 3238102 h 3240000"/>
              <a:gd name="connsiteX5" fmla="*/ 1809128 w 3284868"/>
              <a:gd name="connsiteY5" fmla="*/ 3010457 h 3240000"/>
              <a:gd name="connsiteX6" fmla="*/ 1636883 w 3284868"/>
              <a:gd name="connsiteY6" fmla="*/ 2794837 h 3240000"/>
              <a:gd name="connsiteX7" fmla="*/ 1664868 w 3284868"/>
              <a:gd name="connsiteY7" fmla="*/ 2796250 h 3240000"/>
              <a:gd name="connsiteX8" fmla="*/ 2841118 w 3284868"/>
              <a:gd name="connsiteY8" fmla="*/ 1620000 h 3240000"/>
              <a:gd name="connsiteX9" fmla="*/ 2741837 w 3284868"/>
              <a:gd name="connsiteY9" fmla="*/ 1147940 h 3240000"/>
              <a:gd name="connsiteX10" fmla="*/ 2842724 w 3284868"/>
              <a:gd name="connsiteY10" fmla="*/ 890255 h 3240000"/>
              <a:gd name="connsiteX11" fmla="*/ 44868 w 3284868"/>
              <a:gd name="connsiteY11" fmla="*/ 1620000 h 3240000"/>
              <a:gd name="connsiteX12" fmla="*/ 488618 w 3284868"/>
              <a:gd name="connsiteY12" fmla="*/ 1620000 h 3240000"/>
              <a:gd name="connsiteX13" fmla="*/ 1531344 w 3284868"/>
              <a:gd name="connsiteY13" fmla="*/ 2788154 h 3240000"/>
              <a:gd name="connsiteX14" fmla="*/ 1708928 w 3284868"/>
              <a:gd name="connsiteY14" fmla="*/ 3010457 h 3240000"/>
              <a:gd name="connsiteX15" fmla="*/ 1530962 w 3284868"/>
              <a:gd name="connsiteY15" fmla="*/ 3233239 h 3240000"/>
              <a:gd name="connsiteX16" fmla="*/ 44868 w 3284868"/>
              <a:gd name="connsiteY16" fmla="*/ 1620000 h 3240000"/>
              <a:gd name="connsiteX17" fmla="*/ 1664868 w 3284868"/>
              <a:gd name="connsiteY17" fmla="*/ 0 h 3240000"/>
              <a:gd name="connsiteX18" fmla="*/ 3089677 w 3284868"/>
              <a:gd name="connsiteY18" fmla="*/ 848506 h 3240000"/>
              <a:gd name="connsiteX19" fmla="*/ 2792624 w 3284868"/>
              <a:gd name="connsiteY19" fmla="*/ 803479 h 3240000"/>
              <a:gd name="connsiteX20" fmla="*/ 2695080 w 3284868"/>
              <a:gd name="connsiteY20" fmla="*/ 1052627 h 3240000"/>
              <a:gd name="connsiteX21" fmla="*/ 1664868 w 3284868"/>
              <a:gd name="connsiteY21" fmla="*/ 443750 h 3240000"/>
              <a:gd name="connsiteX22" fmla="*/ 716285 w 3284868"/>
              <a:gd name="connsiteY22" fmla="*/ 926533 h 3240000"/>
              <a:gd name="connsiteX23" fmla="*/ 439676 w 3284868"/>
              <a:gd name="connsiteY23" fmla="*/ 968460 h 3240000"/>
              <a:gd name="connsiteX24" fmla="*/ 333753 w 3284868"/>
              <a:gd name="connsiteY24" fmla="*/ 697909 h 3240000"/>
              <a:gd name="connsiteX25" fmla="*/ 1664868 w 3284868"/>
              <a:gd name="connsiteY25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54865 w 2951115"/>
              <a:gd name="connsiteY12" fmla="*/ 1620000 h 3240000"/>
              <a:gd name="connsiteX13" fmla="*/ 1197591 w 2951115"/>
              <a:gd name="connsiteY13" fmla="*/ 2788154 h 3240000"/>
              <a:gd name="connsiteX14" fmla="*/ 1375175 w 2951115"/>
              <a:gd name="connsiteY14" fmla="*/ 3010457 h 3240000"/>
              <a:gd name="connsiteX15" fmla="*/ 1197209 w 2951115"/>
              <a:gd name="connsiteY15" fmla="*/ 3233239 h 3240000"/>
              <a:gd name="connsiteX16" fmla="*/ 1331115 w 2951115"/>
              <a:gd name="connsiteY16" fmla="*/ 0 h 3240000"/>
              <a:gd name="connsiteX17" fmla="*/ 2755924 w 2951115"/>
              <a:gd name="connsiteY17" fmla="*/ 848506 h 3240000"/>
              <a:gd name="connsiteX18" fmla="*/ 2458871 w 2951115"/>
              <a:gd name="connsiteY18" fmla="*/ 803479 h 3240000"/>
              <a:gd name="connsiteX19" fmla="*/ 2361327 w 2951115"/>
              <a:gd name="connsiteY19" fmla="*/ 1052627 h 3240000"/>
              <a:gd name="connsiteX20" fmla="*/ 1331115 w 2951115"/>
              <a:gd name="connsiteY20" fmla="*/ 443750 h 3240000"/>
              <a:gd name="connsiteX21" fmla="*/ 382532 w 2951115"/>
              <a:gd name="connsiteY21" fmla="*/ 926533 h 3240000"/>
              <a:gd name="connsiteX22" fmla="*/ 105923 w 2951115"/>
              <a:gd name="connsiteY22" fmla="*/ 968460 h 3240000"/>
              <a:gd name="connsiteX23" fmla="*/ 0 w 2951115"/>
              <a:gd name="connsiteY23" fmla="*/ 697909 h 3240000"/>
              <a:gd name="connsiteX24" fmla="*/ 1331115 w 2951115"/>
              <a:gd name="connsiteY24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197591 w 2951115"/>
              <a:gd name="connsiteY12" fmla="*/ 2788154 h 3240000"/>
              <a:gd name="connsiteX13" fmla="*/ 1375175 w 2951115"/>
              <a:gd name="connsiteY13" fmla="*/ 3010457 h 3240000"/>
              <a:gd name="connsiteX14" fmla="*/ 1197209 w 2951115"/>
              <a:gd name="connsiteY14" fmla="*/ 3233239 h 3240000"/>
              <a:gd name="connsiteX15" fmla="*/ 1331115 w 2951115"/>
              <a:gd name="connsiteY15" fmla="*/ 0 h 3240000"/>
              <a:gd name="connsiteX16" fmla="*/ 2755924 w 2951115"/>
              <a:gd name="connsiteY16" fmla="*/ 848506 h 3240000"/>
              <a:gd name="connsiteX17" fmla="*/ 2458871 w 2951115"/>
              <a:gd name="connsiteY17" fmla="*/ 803479 h 3240000"/>
              <a:gd name="connsiteX18" fmla="*/ 2361327 w 2951115"/>
              <a:gd name="connsiteY18" fmla="*/ 1052627 h 3240000"/>
              <a:gd name="connsiteX19" fmla="*/ 1331115 w 2951115"/>
              <a:gd name="connsiteY19" fmla="*/ 443750 h 3240000"/>
              <a:gd name="connsiteX20" fmla="*/ 382532 w 2951115"/>
              <a:gd name="connsiteY20" fmla="*/ 926533 h 3240000"/>
              <a:gd name="connsiteX21" fmla="*/ 105923 w 2951115"/>
              <a:gd name="connsiteY21" fmla="*/ 968460 h 3240000"/>
              <a:gd name="connsiteX22" fmla="*/ 0 w 2951115"/>
              <a:gd name="connsiteY22" fmla="*/ 697909 h 3240000"/>
              <a:gd name="connsiteX23" fmla="*/ 1331115 w 2951115"/>
              <a:gd name="connsiteY23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375175 w 2951115"/>
              <a:gd name="connsiteY12" fmla="*/ 3010457 h 3240000"/>
              <a:gd name="connsiteX13" fmla="*/ 1197209 w 2951115"/>
              <a:gd name="connsiteY13" fmla="*/ 3233239 h 3240000"/>
              <a:gd name="connsiteX14" fmla="*/ 1331115 w 2951115"/>
              <a:gd name="connsiteY14" fmla="*/ 0 h 3240000"/>
              <a:gd name="connsiteX15" fmla="*/ 2755924 w 2951115"/>
              <a:gd name="connsiteY15" fmla="*/ 848506 h 3240000"/>
              <a:gd name="connsiteX16" fmla="*/ 2458871 w 2951115"/>
              <a:gd name="connsiteY16" fmla="*/ 803479 h 3240000"/>
              <a:gd name="connsiteX17" fmla="*/ 2361327 w 2951115"/>
              <a:gd name="connsiteY17" fmla="*/ 1052627 h 3240000"/>
              <a:gd name="connsiteX18" fmla="*/ 1331115 w 2951115"/>
              <a:gd name="connsiteY18" fmla="*/ 443750 h 3240000"/>
              <a:gd name="connsiteX19" fmla="*/ 382532 w 2951115"/>
              <a:gd name="connsiteY19" fmla="*/ 926533 h 3240000"/>
              <a:gd name="connsiteX20" fmla="*/ 105923 w 2951115"/>
              <a:gd name="connsiteY20" fmla="*/ 968460 h 3240000"/>
              <a:gd name="connsiteX21" fmla="*/ 0 w 2951115"/>
              <a:gd name="connsiteY21" fmla="*/ 697909 h 3240000"/>
              <a:gd name="connsiteX22" fmla="*/ 1331115 w 2951115"/>
              <a:gd name="connsiteY22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331115 w 2951115"/>
              <a:gd name="connsiteY11" fmla="*/ 0 h 3240000"/>
              <a:gd name="connsiteX12" fmla="*/ 2755924 w 2951115"/>
              <a:gd name="connsiteY12" fmla="*/ 848506 h 3240000"/>
              <a:gd name="connsiteX13" fmla="*/ 2458871 w 2951115"/>
              <a:gd name="connsiteY13" fmla="*/ 803479 h 3240000"/>
              <a:gd name="connsiteX14" fmla="*/ 2361327 w 2951115"/>
              <a:gd name="connsiteY14" fmla="*/ 1052627 h 3240000"/>
              <a:gd name="connsiteX15" fmla="*/ 1331115 w 2951115"/>
              <a:gd name="connsiteY15" fmla="*/ 443750 h 3240000"/>
              <a:gd name="connsiteX16" fmla="*/ 382532 w 2951115"/>
              <a:gd name="connsiteY16" fmla="*/ 926533 h 3240000"/>
              <a:gd name="connsiteX17" fmla="*/ 105923 w 2951115"/>
              <a:gd name="connsiteY17" fmla="*/ 968460 h 3240000"/>
              <a:gd name="connsiteX18" fmla="*/ 0 w 2951115"/>
              <a:gd name="connsiteY18" fmla="*/ 697909 h 3240000"/>
              <a:gd name="connsiteX19" fmla="*/ 1331115 w 2951115"/>
              <a:gd name="connsiteY19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303130 w 2951115"/>
              <a:gd name="connsiteY5" fmla="*/ 2794837 h 3240000"/>
              <a:gd name="connsiteX6" fmla="*/ 1331115 w 2951115"/>
              <a:gd name="connsiteY6" fmla="*/ 2796250 h 3240000"/>
              <a:gd name="connsiteX7" fmla="*/ 2507365 w 2951115"/>
              <a:gd name="connsiteY7" fmla="*/ 1620000 h 3240000"/>
              <a:gd name="connsiteX8" fmla="*/ 2408084 w 2951115"/>
              <a:gd name="connsiteY8" fmla="*/ 1147940 h 3240000"/>
              <a:gd name="connsiteX9" fmla="*/ 2508971 w 2951115"/>
              <a:gd name="connsiteY9" fmla="*/ 890255 h 3240000"/>
              <a:gd name="connsiteX10" fmla="*/ 1331115 w 2951115"/>
              <a:gd name="connsiteY10" fmla="*/ 0 h 3240000"/>
              <a:gd name="connsiteX11" fmla="*/ 2755924 w 2951115"/>
              <a:gd name="connsiteY11" fmla="*/ 848506 h 3240000"/>
              <a:gd name="connsiteX12" fmla="*/ 2458871 w 2951115"/>
              <a:gd name="connsiteY12" fmla="*/ 803479 h 3240000"/>
              <a:gd name="connsiteX13" fmla="*/ 2361327 w 2951115"/>
              <a:gd name="connsiteY13" fmla="*/ 1052627 h 3240000"/>
              <a:gd name="connsiteX14" fmla="*/ 1331115 w 2951115"/>
              <a:gd name="connsiteY14" fmla="*/ 443750 h 3240000"/>
              <a:gd name="connsiteX15" fmla="*/ 382532 w 2951115"/>
              <a:gd name="connsiteY15" fmla="*/ 926533 h 3240000"/>
              <a:gd name="connsiteX16" fmla="*/ 105923 w 2951115"/>
              <a:gd name="connsiteY16" fmla="*/ 968460 h 3240000"/>
              <a:gd name="connsiteX17" fmla="*/ 0 w 2951115"/>
              <a:gd name="connsiteY17" fmla="*/ 697909 h 3240000"/>
              <a:gd name="connsiteX18" fmla="*/ 1331115 w 2951115"/>
              <a:gd name="connsiteY18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303130 w 2951115"/>
              <a:gd name="connsiteY5" fmla="*/ 2794837 h 3240000"/>
              <a:gd name="connsiteX6" fmla="*/ 2507365 w 2951115"/>
              <a:gd name="connsiteY6" fmla="*/ 1620000 h 3240000"/>
              <a:gd name="connsiteX7" fmla="*/ 2408084 w 2951115"/>
              <a:gd name="connsiteY7" fmla="*/ 1147940 h 3240000"/>
              <a:gd name="connsiteX8" fmla="*/ 2508971 w 2951115"/>
              <a:gd name="connsiteY8" fmla="*/ 890255 h 3240000"/>
              <a:gd name="connsiteX9" fmla="*/ 1331115 w 2951115"/>
              <a:gd name="connsiteY9" fmla="*/ 0 h 3240000"/>
              <a:gd name="connsiteX10" fmla="*/ 2755924 w 2951115"/>
              <a:gd name="connsiteY10" fmla="*/ 848506 h 3240000"/>
              <a:gd name="connsiteX11" fmla="*/ 2458871 w 2951115"/>
              <a:gd name="connsiteY11" fmla="*/ 803479 h 3240000"/>
              <a:gd name="connsiteX12" fmla="*/ 2361327 w 2951115"/>
              <a:gd name="connsiteY12" fmla="*/ 1052627 h 3240000"/>
              <a:gd name="connsiteX13" fmla="*/ 1331115 w 2951115"/>
              <a:gd name="connsiteY13" fmla="*/ 443750 h 3240000"/>
              <a:gd name="connsiteX14" fmla="*/ 382532 w 2951115"/>
              <a:gd name="connsiteY14" fmla="*/ 926533 h 3240000"/>
              <a:gd name="connsiteX15" fmla="*/ 105923 w 2951115"/>
              <a:gd name="connsiteY15" fmla="*/ 968460 h 3240000"/>
              <a:gd name="connsiteX16" fmla="*/ 0 w 2951115"/>
              <a:gd name="connsiteY16" fmla="*/ 697909 h 3240000"/>
              <a:gd name="connsiteX17" fmla="*/ 1331115 w 2951115"/>
              <a:gd name="connsiteY17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303130 w 2951115"/>
              <a:gd name="connsiteY4" fmla="*/ 2794837 h 3240000"/>
              <a:gd name="connsiteX5" fmla="*/ 2507365 w 2951115"/>
              <a:gd name="connsiteY5" fmla="*/ 1620000 h 3240000"/>
              <a:gd name="connsiteX6" fmla="*/ 2408084 w 2951115"/>
              <a:gd name="connsiteY6" fmla="*/ 1147940 h 3240000"/>
              <a:gd name="connsiteX7" fmla="*/ 2508971 w 2951115"/>
              <a:gd name="connsiteY7" fmla="*/ 890255 h 3240000"/>
              <a:gd name="connsiteX8" fmla="*/ 1331115 w 2951115"/>
              <a:gd name="connsiteY8" fmla="*/ 0 h 3240000"/>
              <a:gd name="connsiteX9" fmla="*/ 2755924 w 2951115"/>
              <a:gd name="connsiteY9" fmla="*/ 848506 h 3240000"/>
              <a:gd name="connsiteX10" fmla="*/ 2458871 w 2951115"/>
              <a:gd name="connsiteY10" fmla="*/ 803479 h 3240000"/>
              <a:gd name="connsiteX11" fmla="*/ 2361327 w 2951115"/>
              <a:gd name="connsiteY11" fmla="*/ 1052627 h 3240000"/>
              <a:gd name="connsiteX12" fmla="*/ 1331115 w 2951115"/>
              <a:gd name="connsiteY12" fmla="*/ 443750 h 3240000"/>
              <a:gd name="connsiteX13" fmla="*/ 382532 w 2951115"/>
              <a:gd name="connsiteY13" fmla="*/ 926533 h 3240000"/>
              <a:gd name="connsiteX14" fmla="*/ 105923 w 2951115"/>
              <a:gd name="connsiteY14" fmla="*/ 968460 h 3240000"/>
              <a:gd name="connsiteX15" fmla="*/ 0 w 2951115"/>
              <a:gd name="connsiteY15" fmla="*/ 697909 h 3240000"/>
              <a:gd name="connsiteX16" fmla="*/ 1331115 w 2951115"/>
              <a:gd name="connsiteY16" fmla="*/ 0 h 3240000"/>
              <a:gd name="connsiteX0" fmla="*/ 2508971 w 3046910"/>
              <a:gd name="connsiteY0" fmla="*/ 890255 h 2794837"/>
              <a:gd name="connsiteX1" fmla="*/ 2797073 w 3046910"/>
              <a:gd name="connsiteY1" fmla="*/ 933925 h 2794837"/>
              <a:gd name="connsiteX2" fmla="*/ 2951115 w 3046910"/>
              <a:gd name="connsiteY2" fmla="*/ 1620000 h 2794837"/>
              <a:gd name="connsiteX3" fmla="*/ 1303130 w 3046910"/>
              <a:gd name="connsiteY3" fmla="*/ 2794837 h 2794837"/>
              <a:gd name="connsiteX4" fmla="*/ 2507365 w 3046910"/>
              <a:gd name="connsiteY4" fmla="*/ 1620000 h 2794837"/>
              <a:gd name="connsiteX5" fmla="*/ 2408084 w 3046910"/>
              <a:gd name="connsiteY5" fmla="*/ 1147940 h 2794837"/>
              <a:gd name="connsiteX6" fmla="*/ 2508971 w 3046910"/>
              <a:gd name="connsiteY6" fmla="*/ 890255 h 2794837"/>
              <a:gd name="connsiteX7" fmla="*/ 1331115 w 3046910"/>
              <a:gd name="connsiteY7" fmla="*/ 0 h 2794837"/>
              <a:gd name="connsiteX8" fmla="*/ 2755924 w 3046910"/>
              <a:gd name="connsiteY8" fmla="*/ 848506 h 2794837"/>
              <a:gd name="connsiteX9" fmla="*/ 2458871 w 3046910"/>
              <a:gd name="connsiteY9" fmla="*/ 803479 h 2794837"/>
              <a:gd name="connsiteX10" fmla="*/ 2361327 w 3046910"/>
              <a:gd name="connsiteY10" fmla="*/ 1052627 h 2794837"/>
              <a:gd name="connsiteX11" fmla="*/ 1331115 w 3046910"/>
              <a:gd name="connsiteY11" fmla="*/ 443750 h 2794837"/>
              <a:gd name="connsiteX12" fmla="*/ 382532 w 3046910"/>
              <a:gd name="connsiteY12" fmla="*/ 926533 h 2794837"/>
              <a:gd name="connsiteX13" fmla="*/ 105923 w 3046910"/>
              <a:gd name="connsiteY13" fmla="*/ 968460 h 2794837"/>
              <a:gd name="connsiteX14" fmla="*/ 0 w 3046910"/>
              <a:gd name="connsiteY14" fmla="*/ 697909 h 2794837"/>
              <a:gd name="connsiteX15" fmla="*/ 1331115 w 3046910"/>
              <a:gd name="connsiteY15" fmla="*/ 0 h 2794837"/>
              <a:gd name="connsiteX0" fmla="*/ 2508971 w 2963402"/>
              <a:gd name="connsiteY0" fmla="*/ 890255 h 1692991"/>
              <a:gd name="connsiteX1" fmla="*/ 2797073 w 2963402"/>
              <a:gd name="connsiteY1" fmla="*/ 933925 h 1692991"/>
              <a:gd name="connsiteX2" fmla="*/ 2951115 w 2963402"/>
              <a:gd name="connsiteY2" fmla="*/ 1620000 h 1692991"/>
              <a:gd name="connsiteX3" fmla="*/ 2507365 w 2963402"/>
              <a:gd name="connsiteY3" fmla="*/ 1620000 h 1692991"/>
              <a:gd name="connsiteX4" fmla="*/ 2408084 w 2963402"/>
              <a:gd name="connsiteY4" fmla="*/ 1147940 h 1692991"/>
              <a:gd name="connsiteX5" fmla="*/ 2508971 w 2963402"/>
              <a:gd name="connsiteY5" fmla="*/ 890255 h 1692991"/>
              <a:gd name="connsiteX6" fmla="*/ 1331115 w 2963402"/>
              <a:gd name="connsiteY6" fmla="*/ 0 h 1692991"/>
              <a:gd name="connsiteX7" fmla="*/ 2755924 w 2963402"/>
              <a:gd name="connsiteY7" fmla="*/ 848506 h 1692991"/>
              <a:gd name="connsiteX8" fmla="*/ 2458871 w 2963402"/>
              <a:gd name="connsiteY8" fmla="*/ 803479 h 1692991"/>
              <a:gd name="connsiteX9" fmla="*/ 2361327 w 2963402"/>
              <a:gd name="connsiteY9" fmla="*/ 1052627 h 1692991"/>
              <a:gd name="connsiteX10" fmla="*/ 1331115 w 2963402"/>
              <a:gd name="connsiteY10" fmla="*/ 443750 h 1692991"/>
              <a:gd name="connsiteX11" fmla="*/ 382532 w 2963402"/>
              <a:gd name="connsiteY11" fmla="*/ 926533 h 1692991"/>
              <a:gd name="connsiteX12" fmla="*/ 105923 w 2963402"/>
              <a:gd name="connsiteY12" fmla="*/ 968460 h 1692991"/>
              <a:gd name="connsiteX13" fmla="*/ 0 w 2963402"/>
              <a:gd name="connsiteY13" fmla="*/ 697909 h 1692991"/>
              <a:gd name="connsiteX14" fmla="*/ 1331115 w 2963402"/>
              <a:gd name="connsiteY14" fmla="*/ 0 h 1692991"/>
              <a:gd name="connsiteX0" fmla="*/ 2508971 w 2969536"/>
              <a:gd name="connsiteY0" fmla="*/ 890255 h 1622317"/>
              <a:gd name="connsiteX1" fmla="*/ 2797073 w 2969536"/>
              <a:gd name="connsiteY1" fmla="*/ 933925 h 1622317"/>
              <a:gd name="connsiteX2" fmla="*/ 2951115 w 2969536"/>
              <a:gd name="connsiteY2" fmla="*/ 1620000 h 1622317"/>
              <a:gd name="connsiteX3" fmla="*/ 2408084 w 2969536"/>
              <a:gd name="connsiteY3" fmla="*/ 1147940 h 1622317"/>
              <a:gd name="connsiteX4" fmla="*/ 2508971 w 2969536"/>
              <a:gd name="connsiteY4" fmla="*/ 890255 h 1622317"/>
              <a:gd name="connsiteX5" fmla="*/ 1331115 w 2969536"/>
              <a:gd name="connsiteY5" fmla="*/ 0 h 1622317"/>
              <a:gd name="connsiteX6" fmla="*/ 2755924 w 2969536"/>
              <a:gd name="connsiteY6" fmla="*/ 848506 h 1622317"/>
              <a:gd name="connsiteX7" fmla="*/ 2458871 w 2969536"/>
              <a:gd name="connsiteY7" fmla="*/ 803479 h 1622317"/>
              <a:gd name="connsiteX8" fmla="*/ 2361327 w 2969536"/>
              <a:gd name="connsiteY8" fmla="*/ 1052627 h 1622317"/>
              <a:gd name="connsiteX9" fmla="*/ 1331115 w 2969536"/>
              <a:gd name="connsiteY9" fmla="*/ 443750 h 1622317"/>
              <a:gd name="connsiteX10" fmla="*/ 382532 w 2969536"/>
              <a:gd name="connsiteY10" fmla="*/ 926533 h 1622317"/>
              <a:gd name="connsiteX11" fmla="*/ 105923 w 2969536"/>
              <a:gd name="connsiteY11" fmla="*/ 968460 h 1622317"/>
              <a:gd name="connsiteX12" fmla="*/ 0 w 2969536"/>
              <a:gd name="connsiteY12" fmla="*/ 697909 h 1622317"/>
              <a:gd name="connsiteX13" fmla="*/ 1331115 w 2969536"/>
              <a:gd name="connsiteY13" fmla="*/ 0 h 1622317"/>
              <a:gd name="connsiteX0" fmla="*/ 2408084 w 2969536"/>
              <a:gd name="connsiteY0" fmla="*/ 1147940 h 1622317"/>
              <a:gd name="connsiteX1" fmla="*/ 2797073 w 2969536"/>
              <a:gd name="connsiteY1" fmla="*/ 933925 h 1622317"/>
              <a:gd name="connsiteX2" fmla="*/ 2951115 w 2969536"/>
              <a:gd name="connsiteY2" fmla="*/ 1620000 h 1622317"/>
              <a:gd name="connsiteX3" fmla="*/ 2408084 w 2969536"/>
              <a:gd name="connsiteY3" fmla="*/ 1147940 h 1622317"/>
              <a:gd name="connsiteX4" fmla="*/ 1331115 w 2969536"/>
              <a:gd name="connsiteY4" fmla="*/ 0 h 1622317"/>
              <a:gd name="connsiteX5" fmla="*/ 2755924 w 2969536"/>
              <a:gd name="connsiteY5" fmla="*/ 848506 h 1622317"/>
              <a:gd name="connsiteX6" fmla="*/ 2458871 w 2969536"/>
              <a:gd name="connsiteY6" fmla="*/ 803479 h 1622317"/>
              <a:gd name="connsiteX7" fmla="*/ 2361327 w 2969536"/>
              <a:gd name="connsiteY7" fmla="*/ 1052627 h 1622317"/>
              <a:gd name="connsiteX8" fmla="*/ 1331115 w 2969536"/>
              <a:gd name="connsiteY8" fmla="*/ 443750 h 1622317"/>
              <a:gd name="connsiteX9" fmla="*/ 382532 w 2969536"/>
              <a:gd name="connsiteY9" fmla="*/ 926533 h 1622317"/>
              <a:gd name="connsiteX10" fmla="*/ 105923 w 2969536"/>
              <a:gd name="connsiteY10" fmla="*/ 968460 h 1622317"/>
              <a:gd name="connsiteX11" fmla="*/ 0 w 2969536"/>
              <a:gd name="connsiteY11" fmla="*/ 697909 h 1622317"/>
              <a:gd name="connsiteX12" fmla="*/ 1331115 w 2969536"/>
              <a:gd name="connsiteY12" fmla="*/ 0 h 1622317"/>
              <a:gd name="connsiteX0" fmla="*/ 2408084 w 2951115"/>
              <a:gd name="connsiteY0" fmla="*/ 1147940 h 1622317"/>
              <a:gd name="connsiteX1" fmla="*/ 2951115 w 2951115"/>
              <a:gd name="connsiteY1" fmla="*/ 1620000 h 1622317"/>
              <a:gd name="connsiteX2" fmla="*/ 2408084 w 2951115"/>
              <a:gd name="connsiteY2" fmla="*/ 1147940 h 1622317"/>
              <a:gd name="connsiteX3" fmla="*/ 1331115 w 2951115"/>
              <a:gd name="connsiteY3" fmla="*/ 0 h 1622317"/>
              <a:gd name="connsiteX4" fmla="*/ 2755924 w 2951115"/>
              <a:gd name="connsiteY4" fmla="*/ 848506 h 1622317"/>
              <a:gd name="connsiteX5" fmla="*/ 2458871 w 2951115"/>
              <a:gd name="connsiteY5" fmla="*/ 803479 h 1622317"/>
              <a:gd name="connsiteX6" fmla="*/ 2361327 w 2951115"/>
              <a:gd name="connsiteY6" fmla="*/ 1052627 h 1622317"/>
              <a:gd name="connsiteX7" fmla="*/ 1331115 w 2951115"/>
              <a:gd name="connsiteY7" fmla="*/ 443750 h 1622317"/>
              <a:gd name="connsiteX8" fmla="*/ 382532 w 2951115"/>
              <a:gd name="connsiteY8" fmla="*/ 926533 h 1622317"/>
              <a:gd name="connsiteX9" fmla="*/ 105923 w 2951115"/>
              <a:gd name="connsiteY9" fmla="*/ 968460 h 1622317"/>
              <a:gd name="connsiteX10" fmla="*/ 0 w 2951115"/>
              <a:gd name="connsiteY10" fmla="*/ 697909 h 1622317"/>
              <a:gd name="connsiteX11" fmla="*/ 1331115 w 2951115"/>
              <a:gd name="connsiteY11" fmla="*/ 0 h 1622317"/>
              <a:gd name="connsiteX0" fmla="*/ 1331115 w 2755924"/>
              <a:gd name="connsiteY0" fmla="*/ 0 h 1052627"/>
              <a:gd name="connsiteX1" fmla="*/ 2755924 w 2755924"/>
              <a:gd name="connsiteY1" fmla="*/ 848506 h 1052627"/>
              <a:gd name="connsiteX2" fmla="*/ 2458871 w 2755924"/>
              <a:gd name="connsiteY2" fmla="*/ 803479 h 1052627"/>
              <a:gd name="connsiteX3" fmla="*/ 2361327 w 2755924"/>
              <a:gd name="connsiteY3" fmla="*/ 1052627 h 1052627"/>
              <a:gd name="connsiteX4" fmla="*/ 1331115 w 2755924"/>
              <a:gd name="connsiteY4" fmla="*/ 443750 h 1052627"/>
              <a:gd name="connsiteX5" fmla="*/ 382532 w 2755924"/>
              <a:gd name="connsiteY5" fmla="*/ 926533 h 1052627"/>
              <a:gd name="connsiteX6" fmla="*/ 105923 w 2755924"/>
              <a:gd name="connsiteY6" fmla="*/ 968460 h 1052627"/>
              <a:gd name="connsiteX7" fmla="*/ 0 w 2755924"/>
              <a:gd name="connsiteY7" fmla="*/ 697909 h 1052627"/>
              <a:gd name="connsiteX8" fmla="*/ 1331115 w 2755924"/>
              <a:gd name="connsiteY8" fmla="*/ 0 h 1052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55924" h="1052627">
                <a:moveTo>
                  <a:pt x="1331115" y="0"/>
                </a:moveTo>
                <a:cubicBezTo>
                  <a:pt x="1946497" y="0"/>
                  <a:pt x="2481738" y="343123"/>
                  <a:pt x="2755924" y="848506"/>
                </a:cubicBezTo>
                <a:lnTo>
                  <a:pt x="2458871" y="803479"/>
                </a:lnTo>
                <a:lnTo>
                  <a:pt x="2361327" y="1052627"/>
                </a:lnTo>
                <a:cubicBezTo>
                  <a:pt x="2161347" y="689556"/>
                  <a:pt x="1774936" y="443750"/>
                  <a:pt x="1331115" y="443750"/>
                </a:cubicBezTo>
                <a:cubicBezTo>
                  <a:pt x="941142" y="443750"/>
                  <a:pt x="595494" y="633528"/>
                  <a:pt x="382532" y="926533"/>
                </a:cubicBezTo>
                <a:lnTo>
                  <a:pt x="105923" y="968460"/>
                </a:lnTo>
                <a:lnTo>
                  <a:pt x="0" y="697909"/>
                </a:lnTo>
                <a:cubicBezTo>
                  <a:pt x="291808" y="275964"/>
                  <a:pt x="779234" y="0"/>
                  <a:pt x="1331115" y="0"/>
                </a:cubicBezTo>
                <a:close/>
              </a:path>
            </a:pathLst>
          </a:custGeom>
          <a:solidFill>
            <a:srgbClr val="AAB41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87" name="Rad 9"/>
          <p:cNvSpPr/>
          <p:nvPr/>
        </p:nvSpPr>
        <p:spPr bwMode="auto">
          <a:xfrm rot="14400000" flipH="1">
            <a:off x="3541012" y="4469829"/>
            <a:ext cx="3057254" cy="1167721"/>
          </a:xfrm>
          <a:custGeom>
            <a:avLst/>
            <a:gdLst>
              <a:gd name="connsiteX0" fmla="*/ 2797856 w 3240000"/>
              <a:gd name="connsiteY0" fmla="*/ 890255 h 3240000"/>
              <a:gd name="connsiteX1" fmla="*/ 3085958 w 3240000"/>
              <a:gd name="connsiteY1" fmla="*/ 933925 h 3240000"/>
              <a:gd name="connsiteX2" fmla="*/ 3240000 w 3240000"/>
              <a:gd name="connsiteY2" fmla="*/ 1620000 h 3240000"/>
              <a:gd name="connsiteX3" fmla="*/ 1620000 w 3240000"/>
              <a:gd name="connsiteY3" fmla="*/ 3240000 h 3240000"/>
              <a:gd name="connsiteX4" fmla="*/ 1582409 w 3240000"/>
              <a:gd name="connsiteY4" fmla="*/ 3238102 h 3240000"/>
              <a:gd name="connsiteX5" fmla="*/ 1764260 w 3240000"/>
              <a:gd name="connsiteY5" fmla="*/ 3010457 h 3240000"/>
              <a:gd name="connsiteX6" fmla="*/ 1592015 w 3240000"/>
              <a:gd name="connsiteY6" fmla="*/ 2794837 h 3240000"/>
              <a:gd name="connsiteX7" fmla="*/ 1620000 w 3240000"/>
              <a:gd name="connsiteY7" fmla="*/ 2796250 h 3240000"/>
              <a:gd name="connsiteX8" fmla="*/ 2796250 w 3240000"/>
              <a:gd name="connsiteY8" fmla="*/ 1620000 h 3240000"/>
              <a:gd name="connsiteX9" fmla="*/ 2696969 w 3240000"/>
              <a:gd name="connsiteY9" fmla="*/ 1147940 h 3240000"/>
              <a:gd name="connsiteX10" fmla="*/ 2797856 w 3240000"/>
              <a:gd name="connsiteY10" fmla="*/ 890255 h 3240000"/>
              <a:gd name="connsiteX11" fmla="*/ 236861 w 3240000"/>
              <a:gd name="connsiteY11" fmla="*/ 779772 h 3240000"/>
              <a:gd name="connsiteX12" fmla="*/ 612901 w 3240000"/>
              <a:gd name="connsiteY12" fmla="*/ 1014584 h 3240000"/>
              <a:gd name="connsiteX13" fmla="*/ 443750 w 3240000"/>
              <a:gd name="connsiteY13" fmla="*/ 1620000 h 3240000"/>
              <a:gd name="connsiteX14" fmla="*/ 1486476 w 3240000"/>
              <a:gd name="connsiteY14" fmla="*/ 2788154 h 3240000"/>
              <a:gd name="connsiteX15" fmla="*/ 1664060 w 3240000"/>
              <a:gd name="connsiteY15" fmla="*/ 3010457 h 3240000"/>
              <a:gd name="connsiteX16" fmla="*/ 1486094 w 3240000"/>
              <a:gd name="connsiteY16" fmla="*/ 3233239 h 3240000"/>
              <a:gd name="connsiteX17" fmla="*/ 0 w 3240000"/>
              <a:gd name="connsiteY17" fmla="*/ 1620000 h 3240000"/>
              <a:gd name="connsiteX18" fmla="*/ 236861 w 3240000"/>
              <a:gd name="connsiteY18" fmla="*/ 779772 h 3240000"/>
              <a:gd name="connsiteX19" fmla="*/ 1620000 w 3240000"/>
              <a:gd name="connsiteY19" fmla="*/ 0 h 3240000"/>
              <a:gd name="connsiteX20" fmla="*/ 3044809 w 3240000"/>
              <a:gd name="connsiteY20" fmla="*/ 848506 h 3240000"/>
              <a:gd name="connsiteX21" fmla="*/ 2747756 w 3240000"/>
              <a:gd name="connsiteY21" fmla="*/ 803479 h 3240000"/>
              <a:gd name="connsiteX22" fmla="*/ 2650212 w 3240000"/>
              <a:gd name="connsiteY22" fmla="*/ 1052627 h 3240000"/>
              <a:gd name="connsiteX23" fmla="*/ 1620000 w 3240000"/>
              <a:gd name="connsiteY23" fmla="*/ 443750 h 3240000"/>
              <a:gd name="connsiteX24" fmla="*/ 671417 w 3240000"/>
              <a:gd name="connsiteY24" fmla="*/ 926533 h 3240000"/>
              <a:gd name="connsiteX25" fmla="*/ 394808 w 3240000"/>
              <a:gd name="connsiteY25" fmla="*/ 968460 h 3240000"/>
              <a:gd name="connsiteX26" fmla="*/ 288885 w 3240000"/>
              <a:gd name="connsiteY26" fmla="*/ 697909 h 3240000"/>
              <a:gd name="connsiteX27" fmla="*/ 1620000 w 3240000"/>
              <a:gd name="connsiteY27" fmla="*/ 0 h 3240000"/>
              <a:gd name="connsiteX0" fmla="*/ 2797856 w 3240000"/>
              <a:gd name="connsiteY0" fmla="*/ 890255 h 3240000"/>
              <a:gd name="connsiteX1" fmla="*/ 3085958 w 3240000"/>
              <a:gd name="connsiteY1" fmla="*/ 933925 h 3240000"/>
              <a:gd name="connsiteX2" fmla="*/ 3240000 w 3240000"/>
              <a:gd name="connsiteY2" fmla="*/ 1620000 h 3240000"/>
              <a:gd name="connsiteX3" fmla="*/ 1620000 w 3240000"/>
              <a:gd name="connsiteY3" fmla="*/ 3240000 h 3240000"/>
              <a:gd name="connsiteX4" fmla="*/ 1582409 w 3240000"/>
              <a:gd name="connsiteY4" fmla="*/ 3238102 h 3240000"/>
              <a:gd name="connsiteX5" fmla="*/ 1764260 w 3240000"/>
              <a:gd name="connsiteY5" fmla="*/ 3010457 h 3240000"/>
              <a:gd name="connsiteX6" fmla="*/ 1592015 w 3240000"/>
              <a:gd name="connsiteY6" fmla="*/ 2794837 h 3240000"/>
              <a:gd name="connsiteX7" fmla="*/ 1620000 w 3240000"/>
              <a:gd name="connsiteY7" fmla="*/ 2796250 h 3240000"/>
              <a:gd name="connsiteX8" fmla="*/ 2796250 w 3240000"/>
              <a:gd name="connsiteY8" fmla="*/ 1620000 h 3240000"/>
              <a:gd name="connsiteX9" fmla="*/ 2696969 w 3240000"/>
              <a:gd name="connsiteY9" fmla="*/ 1147940 h 3240000"/>
              <a:gd name="connsiteX10" fmla="*/ 2797856 w 3240000"/>
              <a:gd name="connsiteY10" fmla="*/ 890255 h 3240000"/>
              <a:gd name="connsiteX11" fmla="*/ 236861 w 3240000"/>
              <a:gd name="connsiteY11" fmla="*/ 779772 h 3240000"/>
              <a:gd name="connsiteX12" fmla="*/ 443750 w 3240000"/>
              <a:gd name="connsiteY12" fmla="*/ 1620000 h 3240000"/>
              <a:gd name="connsiteX13" fmla="*/ 1486476 w 3240000"/>
              <a:gd name="connsiteY13" fmla="*/ 2788154 h 3240000"/>
              <a:gd name="connsiteX14" fmla="*/ 1664060 w 3240000"/>
              <a:gd name="connsiteY14" fmla="*/ 3010457 h 3240000"/>
              <a:gd name="connsiteX15" fmla="*/ 1486094 w 3240000"/>
              <a:gd name="connsiteY15" fmla="*/ 3233239 h 3240000"/>
              <a:gd name="connsiteX16" fmla="*/ 0 w 3240000"/>
              <a:gd name="connsiteY16" fmla="*/ 1620000 h 3240000"/>
              <a:gd name="connsiteX17" fmla="*/ 236861 w 3240000"/>
              <a:gd name="connsiteY17" fmla="*/ 779772 h 3240000"/>
              <a:gd name="connsiteX18" fmla="*/ 1620000 w 3240000"/>
              <a:gd name="connsiteY18" fmla="*/ 0 h 3240000"/>
              <a:gd name="connsiteX19" fmla="*/ 3044809 w 3240000"/>
              <a:gd name="connsiteY19" fmla="*/ 848506 h 3240000"/>
              <a:gd name="connsiteX20" fmla="*/ 2747756 w 3240000"/>
              <a:gd name="connsiteY20" fmla="*/ 803479 h 3240000"/>
              <a:gd name="connsiteX21" fmla="*/ 2650212 w 3240000"/>
              <a:gd name="connsiteY21" fmla="*/ 1052627 h 3240000"/>
              <a:gd name="connsiteX22" fmla="*/ 1620000 w 3240000"/>
              <a:gd name="connsiteY22" fmla="*/ 443750 h 3240000"/>
              <a:gd name="connsiteX23" fmla="*/ 671417 w 3240000"/>
              <a:gd name="connsiteY23" fmla="*/ 926533 h 3240000"/>
              <a:gd name="connsiteX24" fmla="*/ 394808 w 3240000"/>
              <a:gd name="connsiteY24" fmla="*/ 968460 h 3240000"/>
              <a:gd name="connsiteX25" fmla="*/ 288885 w 3240000"/>
              <a:gd name="connsiteY25" fmla="*/ 697909 h 3240000"/>
              <a:gd name="connsiteX26" fmla="*/ 1620000 w 3240000"/>
              <a:gd name="connsiteY26" fmla="*/ 0 h 3240000"/>
              <a:gd name="connsiteX0" fmla="*/ 2842724 w 3284868"/>
              <a:gd name="connsiteY0" fmla="*/ 890255 h 3240000"/>
              <a:gd name="connsiteX1" fmla="*/ 3130826 w 3284868"/>
              <a:gd name="connsiteY1" fmla="*/ 933925 h 3240000"/>
              <a:gd name="connsiteX2" fmla="*/ 3284868 w 3284868"/>
              <a:gd name="connsiteY2" fmla="*/ 1620000 h 3240000"/>
              <a:gd name="connsiteX3" fmla="*/ 1664868 w 3284868"/>
              <a:gd name="connsiteY3" fmla="*/ 3240000 h 3240000"/>
              <a:gd name="connsiteX4" fmla="*/ 1627277 w 3284868"/>
              <a:gd name="connsiteY4" fmla="*/ 3238102 h 3240000"/>
              <a:gd name="connsiteX5" fmla="*/ 1809128 w 3284868"/>
              <a:gd name="connsiteY5" fmla="*/ 3010457 h 3240000"/>
              <a:gd name="connsiteX6" fmla="*/ 1636883 w 3284868"/>
              <a:gd name="connsiteY6" fmla="*/ 2794837 h 3240000"/>
              <a:gd name="connsiteX7" fmla="*/ 1664868 w 3284868"/>
              <a:gd name="connsiteY7" fmla="*/ 2796250 h 3240000"/>
              <a:gd name="connsiteX8" fmla="*/ 2841118 w 3284868"/>
              <a:gd name="connsiteY8" fmla="*/ 1620000 h 3240000"/>
              <a:gd name="connsiteX9" fmla="*/ 2741837 w 3284868"/>
              <a:gd name="connsiteY9" fmla="*/ 1147940 h 3240000"/>
              <a:gd name="connsiteX10" fmla="*/ 2842724 w 3284868"/>
              <a:gd name="connsiteY10" fmla="*/ 890255 h 3240000"/>
              <a:gd name="connsiteX11" fmla="*/ 44868 w 3284868"/>
              <a:gd name="connsiteY11" fmla="*/ 1620000 h 3240000"/>
              <a:gd name="connsiteX12" fmla="*/ 488618 w 3284868"/>
              <a:gd name="connsiteY12" fmla="*/ 1620000 h 3240000"/>
              <a:gd name="connsiteX13" fmla="*/ 1531344 w 3284868"/>
              <a:gd name="connsiteY13" fmla="*/ 2788154 h 3240000"/>
              <a:gd name="connsiteX14" fmla="*/ 1708928 w 3284868"/>
              <a:gd name="connsiteY14" fmla="*/ 3010457 h 3240000"/>
              <a:gd name="connsiteX15" fmla="*/ 1530962 w 3284868"/>
              <a:gd name="connsiteY15" fmla="*/ 3233239 h 3240000"/>
              <a:gd name="connsiteX16" fmla="*/ 44868 w 3284868"/>
              <a:gd name="connsiteY16" fmla="*/ 1620000 h 3240000"/>
              <a:gd name="connsiteX17" fmla="*/ 1664868 w 3284868"/>
              <a:gd name="connsiteY17" fmla="*/ 0 h 3240000"/>
              <a:gd name="connsiteX18" fmla="*/ 3089677 w 3284868"/>
              <a:gd name="connsiteY18" fmla="*/ 848506 h 3240000"/>
              <a:gd name="connsiteX19" fmla="*/ 2792624 w 3284868"/>
              <a:gd name="connsiteY19" fmla="*/ 803479 h 3240000"/>
              <a:gd name="connsiteX20" fmla="*/ 2695080 w 3284868"/>
              <a:gd name="connsiteY20" fmla="*/ 1052627 h 3240000"/>
              <a:gd name="connsiteX21" fmla="*/ 1664868 w 3284868"/>
              <a:gd name="connsiteY21" fmla="*/ 443750 h 3240000"/>
              <a:gd name="connsiteX22" fmla="*/ 716285 w 3284868"/>
              <a:gd name="connsiteY22" fmla="*/ 926533 h 3240000"/>
              <a:gd name="connsiteX23" fmla="*/ 439676 w 3284868"/>
              <a:gd name="connsiteY23" fmla="*/ 968460 h 3240000"/>
              <a:gd name="connsiteX24" fmla="*/ 333753 w 3284868"/>
              <a:gd name="connsiteY24" fmla="*/ 697909 h 3240000"/>
              <a:gd name="connsiteX25" fmla="*/ 1664868 w 3284868"/>
              <a:gd name="connsiteY25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54865 w 2951115"/>
              <a:gd name="connsiteY12" fmla="*/ 1620000 h 3240000"/>
              <a:gd name="connsiteX13" fmla="*/ 1197591 w 2951115"/>
              <a:gd name="connsiteY13" fmla="*/ 2788154 h 3240000"/>
              <a:gd name="connsiteX14" fmla="*/ 1375175 w 2951115"/>
              <a:gd name="connsiteY14" fmla="*/ 3010457 h 3240000"/>
              <a:gd name="connsiteX15" fmla="*/ 1197209 w 2951115"/>
              <a:gd name="connsiteY15" fmla="*/ 3233239 h 3240000"/>
              <a:gd name="connsiteX16" fmla="*/ 1331115 w 2951115"/>
              <a:gd name="connsiteY16" fmla="*/ 0 h 3240000"/>
              <a:gd name="connsiteX17" fmla="*/ 2755924 w 2951115"/>
              <a:gd name="connsiteY17" fmla="*/ 848506 h 3240000"/>
              <a:gd name="connsiteX18" fmla="*/ 2458871 w 2951115"/>
              <a:gd name="connsiteY18" fmla="*/ 803479 h 3240000"/>
              <a:gd name="connsiteX19" fmla="*/ 2361327 w 2951115"/>
              <a:gd name="connsiteY19" fmla="*/ 1052627 h 3240000"/>
              <a:gd name="connsiteX20" fmla="*/ 1331115 w 2951115"/>
              <a:gd name="connsiteY20" fmla="*/ 443750 h 3240000"/>
              <a:gd name="connsiteX21" fmla="*/ 382532 w 2951115"/>
              <a:gd name="connsiteY21" fmla="*/ 926533 h 3240000"/>
              <a:gd name="connsiteX22" fmla="*/ 105923 w 2951115"/>
              <a:gd name="connsiteY22" fmla="*/ 968460 h 3240000"/>
              <a:gd name="connsiteX23" fmla="*/ 0 w 2951115"/>
              <a:gd name="connsiteY23" fmla="*/ 697909 h 3240000"/>
              <a:gd name="connsiteX24" fmla="*/ 1331115 w 2951115"/>
              <a:gd name="connsiteY24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197591 w 2951115"/>
              <a:gd name="connsiteY12" fmla="*/ 2788154 h 3240000"/>
              <a:gd name="connsiteX13" fmla="*/ 1375175 w 2951115"/>
              <a:gd name="connsiteY13" fmla="*/ 3010457 h 3240000"/>
              <a:gd name="connsiteX14" fmla="*/ 1197209 w 2951115"/>
              <a:gd name="connsiteY14" fmla="*/ 3233239 h 3240000"/>
              <a:gd name="connsiteX15" fmla="*/ 1331115 w 2951115"/>
              <a:gd name="connsiteY15" fmla="*/ 0 h 3240000"/>
              <a:gd name="connsiteX16" fmla="*/ 2755924 w 2951115"/>
              <a:gd name="connsiteY16" fmla="*/ 848506 h 3240000"/>
              <a:gd name="connsiteX17" fmla="*/ 2458871 w 2951115"/>
              <a:gd name="connsiteY17" fmla="*/ 803479 h 3240000"/>
              <a:gd name="connsiteX18" fmla="*/ 2361327 w 2951115"/>
              <a:gd name="connsiteY18" fmla="*/ 1052627 h 3240000"/>
              <a:gd name="connsiteX19" fmla="*/ 1331115 w 2951115"/>
              <a:gd name="connsiteY19" fmla="*/ 443750 h 3240000"/>
              <a:gd name="connsiteX20" fmla="*/ 382532 w 2951115"/>
              <a:gd name="connsiteY20" fmla="*/ 926533 h 3240000"/>
              <a:gd name="connsiteX21" fmla="*/ 105923 w 2951115"/>
              <a:gd name="connsiteY21" fmla="*/ 968460 h 3240000"/>
              <a:gd name="connsiteX22" fmla="*/ 0 w 2951115"/>
              <a:gd name="connsiteY22" fmla="*/ 697909 h 3240000"/>
              <a:gd name="connsiteX23" fmla="*/ 1331115 w 2951115"/>
              <a:gd name="connsiteY23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197209 w 2951115"/>
              <a:gd name="connsiteY11" fmla="*/ 3233239 h 3240000"/>
              <a:gd name="connsiteX12" fmla="*/ 1375175 w 2951115"/>
              <a:gd name="connsiteY12" fmla="*/ 3010457 h 3240000"/>
              <a:gd name="connsiteX13" fmla="*/ 1197209 w 2951115"/>
              <a:gd name="connsiteY13" fmla="*/ 3233239 h 3240000"/>
              <a:gd name="connsiteX14" fmla="*/ 1331115 w 2951115"/>
              <a:gd name="connsiteY14" fmla="*/ 0 h 3240000"/>
              <a:gd name="connsiteX15" fmla="*/ 2755924 w 2951115"/>
              <a:gd name="connsiteY15" fmla="*/ 848506 h 3240000"/>
              <a:gd name="connsiteX16" fmla="*/ 2458871 w 2951115"/>
              <a:gd name="connsiteY16" fmla="*/ 803479 h 3240000"/>
              <a:gd name="connsiteX17" fmla="*/ 2361327 w 2951115"/>
              <a:gd name="connsiteY17" fmla="*/ 1052627 h 3240000"/>
              <a:gd name="connsiteX18" fmla="*/ 1331115 w 2951115"/>
              <a:gd name="connsiteY18" fmla="*/ 443750 h 3240000"/>
              <a:gd name="connsiteX19" fmla="*/ 382532 w 2951115"/>
              <a:gd name="connsiteY19" fmla="*/ 926533 h 3240000"/>
              <a:gd name="connsiteX20" fmla="*/ 105923 w 2951115"/>
              <a:gd name="connsiteY20" fmla="*/ 968460 h 3240000"/>
              <a:gd name="connsiteX21" fmla="*/ 0 w 2951115"/>
              <a:gd name="connsiteY21" fmla="*/ 697909 h 3240000"/>
              <a:gd name="connsiteX22" fmla="*/ 1331115 w 2951115"/>
              <a:gd name="connsiteY22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475375 w 2951115"/>
              <a:gd name="connsiteY5" fmla="*/ 3010457 h 3240000"/>
              <a:gd name="connsiteX6" fmla="*/ 1303130 w 2951115"/>
              <a:gd name="connsiteY6" fmla="*/ 2794837 h 3240000"/>
              <a:gd name="connsiteX7" fmla="*/ 1331115 w 2951115"/>
              <a:gd name="connsiteY7" fmla="*/ 2796250 h 3240000"/>
              <a:gd name="connsiteX8" fmla="*/ 2507365 w 2951115"/>
              <a:gd name="connsiteY8" fmla="*/ 1620000 h 3240000"/>
              <a:gd name="connsiteX9" fmla="*/ 2408084 w 2951115"/>
              <a:gd name="connsiteY9" fmla="*/ 1147940 h 3240000"/>
              <a:gd name="connsiteX10" fmla="*/ 2508971 w 2951115"/>
              <a:gd name="connsiteY10" fmla="*/ 890255 h 3240000"/>
              <a:gd name="connsiteX11" fmla="*/ 1331115 w 2951115"/>
              <a:gd name="connsiteY11" fmla="*/ 0 h 3240000"/>
              <a:gd name="connsiteX12" fmla="*/ 2755924 w 2951115"/>
              <a:gd name="connsiteY12" fmla="*/ 848506 h 3240000"/>
              <a:gd name="connsiteX13" fmla="*/ 2458871 w 2951115"/>
              <a:gd name="connsiteY13" fmla="*/ 803479 h 3240000"/>
              <a:gd name="connsiteX14" fmla="*/ 2361327 w 2951115"/>
              <a:gd name="connsiteY14" fmla="*/ 1052627 h 3240000"/>
              <a:gd name="connsiteX15" fmla="*/ 1331115 w 2951115"/>
              <a:gd name="connsiteY15" fmla="*/ 443750 h 3240000"/>
              <a:gd name="connsiteX16" fmla="*/ 382532 w 2951115"/>
              <a:gd name="connsiteY16" fmla="*/ 926533 h 3240000"/>
              <a:gd name="connsiteX17" fmla="*/ 105923 w 2951115"/>
              <a:gd name="connsiteY17" fmla="*/ 968460 h 3240000"/>
              <a:gd name="connsiteX18" fmla="*/ 0 w 2951115"/>
              <a:gd name="connsiteY18" fmla="*/ 697909 h 3240000"/>
              <a:gd name="connsiteX19" fmla="*/ 1331115 w 2951115"/>
              <a:gd name="connsiteY19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303130 w 2951115"/>
              <a:gd name="connsiteY5" fmla="*/ 2794837 h 3240000"/>
              <a:gd name="connsiteX6" fmla="*/ 1331115 w 2951115"/>
              <a:gd name="connsiteY6" fmla="*/ 2796250 h 3240000"/>
              <a:gd name="connsiteX7" fmla="*/ 2507365 w 2951115"/>
              <a:gd name="connsiteY7" fmla="*/ 1620000 h 3240000"/>
              <a:gd name="connsiteX8" fmla="*/ 2408084 w 2951115"/>
              <a:gd name="connsiteY8" fmla="*/ 1147940 h 3240000"/>
              <a:gd name="connsiteX9" fmla="*/ 2508971 w 2951115"/>
              <a:gd name="connsiteY9" fmla="*/ 890255 h 3240000"/>
              <a:gd name="connsiteX10" fmla="*/ 1331115 w 2951115"/>
              <a:gd name="connsiteY10" fmla="*/ 0 h 3240000"/>
              <a:gd name="connsiteX11" fmla="*/ 2755924 w 2951115"/>
              <a:gd name="connsiteY11" fmla="*/ 848506 h 3240000"/>
              <a:gd name="connsiteX12" fmla="*/ 2458871 w 2951115"/>
              <a:gd name="connsiteY12" fmla="*/ 803479 h 3240000"/>
              <a:gd name="connsiteX13" fmla="*/ 2361327 w 2951115"/>
              <a:gd name="connsiteY13" fmla="*/ 1052627 h 3240000"/>
              <a:gd name="connsiteX14" fmla="*/ 1331115 w 2951115"/>
              <a:gd name="connsiteY14" fmla="*/ 443750 h 3240000"/>
              <a:gd name="connsiteX15" fmla="*/ 382532 w 2951115"/>
              <a:gd name="connsiteY15" fmla="*/ 926533 h 3240000"/>
              <a:gd name="connsiteX16" fmla="*/ 105923 w 2951115"/>
              <a:gd name="connsiteY16" fmla="*/ 968460 h 3240000"/>
              <a:gd name="connsiteX17" fmla="*/ 0 w 2951115"/>
              <a:gd name="connsiteY17" fmla="*/ 697909 h 3240000"/>
              <a:gd name="connsiteX18" fmla="*/ 1331115 w 2951115"/>
              <a:gd name="connsiteY18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293524 w 2951115"/>
              <a:gd name="connsiteY4" fmla="*/ 3238102 h 3240000"/>
              <a:gd name="connsiteX5" fmla="*/ 1303130 w 2951115"/>
              <a:gd name="connsiteY5" fmla="*/ 2794837 h 3240000"/>
              <a:gd name="connsiteX6" fmla="*/ 2507365 w 2951115"/>
              <a:gd name="connsiteY6" fmla="*/ 1620000 h 3240000"/>
              <a:gd name="connsiteX7" fmla="*/ 2408084 w 2951115"/>
              <a:gd name="connsiteY7" fmla="*/ 1147940 h 3240000"/>
              <a:gd name="connsiteX8" fmla="*/ 2508971 w 2951115"/>
              <a:gd name="connsiteY8" fmla="*/ 890255 h 3240000"/>
              <a:gd name="connsiteX9" fmla="*/ 1331115 w 2951115"/>
              <a:gd name="connsiteY9" fmla="*/ 0 h 3240000"/>
              <a:gd name="connsiteX10" fmla="*/ 2755924 w 2951115"/>
              <a:gd name="connsiteY10" fmla="*/ 848506 h 3240000"/>
              <a:gd name="connsiteX11" fmla="*/ 2458871 w 2951115"/>
              <a:gd name="connsiteY11" fmla="*/ 803479 h 3240000"/>
              <a:gd name="connsiteX12" fmla="*/ 2361327 w 2951115"/>
              <a:gd name="connsiteY12" fmla="*/ 1052627 h 3240000"/>
              <a:gd name="connsiteX13" fmla="*/ 1331115 w 2951115"/>
              <a:gd name="connsiteY13" fmla="*/ 443750 h 3240000"/>
              <a:gd name="connsiteX14" fmla="*/ 382532 w 2951115"/>
              <a:gd name="connsiteY14" fmla="*/ 926533 h 3240000"/>
              <a:gd name="connsiteX15" fmla="*/ 105923 w 2951115"/>
              <a:gd name="connsiteY15" fmla="*/ 968460 h 3240000"/>
              <a:gd name="connsiteX16" fmla="*/ 0 w 2951115"/>
              <a:gd name="connsiteY16" fmla="*/ 697909 h 3240000"/>
              <a:gd name="connsiteX17" fmla="*/ 1331115 w 2951115"/>
              <a:gd name="connsiteY17" fmla="*/ 0 h 3240000"/>
              <a:gd name="connsiteX0" fmla="*/ 2508971 w 2951115"/>
              <a:gd name="connsiteY0" fmla="*/ 890255 h 3240000"/>
              <a:gd name="connsiteX1" fmla="*/ 2797073 w 2951115"/>
              <a:gd name="connsiteY1" fmla="*/ 933925 h 3240000"/>
              <a:gd name="connsiteX2" fmla="*/ 2951115 w 2951115"/>
              <a:gd name="connsiteY2" fmla="*/ 1620000 h 3240000"/>
              <a:gd name="connsiteX3" fmla="*/ 1331115 w 2951115"/>
              <a:gd name="connsiteY3" fmla="*/ 3240000 h 3240000"/>
              <a:gd name="connsiteX4" fmla="*/ 1303130 w 2951115"/>
              <a:gd name="connsiteY4" fmla="*/ 2794837 h 3240000"/>
              <a:gd name="connsiteX5" fmla="*/ 2507365 w 2951115"/>
              <a:gd name="connsiteY5" fmla="*/ 1620000 h 3240000"/>
              <a:gd name="connsiteX6" fmla="*/ 2408084 w 2951115"/>
              <a:gd name="connsiteY6" fmla="*/ 1147940 h 3240000"/>
              <a:gd name="connsiteX7" fmla="*/ 2508971 w 2951115"/>
              <a:gd name="connsiteY7" fmla="*/ 890255 h 3240000"/>
              <a:gd name="connsiteX8" fmla="*/ 1331115 w 2951115"/>
              <a:gd name="connsiteY8" fmla="*/ 0 h 3240000"/>
              <a:gd name="connsiteX9" fmla="*/ 2755924 w 2951115"/>
              <a:gd name="connsiteY9" fmla="*/ 848506 h 3240000"/>
              <a:gd name="connsiteX10" fmla="*/ 2458871 w 2951115"/>
              <a:gd name="connsiteY10" fmla="*/ 803479 h 3240000"/>
              <a:gd name="connsiteX11" fmla="*/ 2361327 w 2951115"/>
              <a:gd name="connsiteY11" fmla="*/ 1052627 h 3240000"/>
              <a:gd name="connsiteX12" fmla="*/ 1331115 w 2951115"/>
              <a:gd name="connsiteY12" fmla="*/ 443750 h 3240000"/>
              <a:gd name="connsiteX13" fmla="*/ 382532 w 2951115"/>
              <a:gd name="connsiteY13" fmla="*/ 926533 h 3240000"/>
              <a:gd name="connsiteX14" fmla="*/ 105923 w 2951115"/>
              <a:gd name="connsiteY14" fmla="*/ 968460 h 3240000"/>
              <a:gd name="connsiteX15" fmla="*/ 0 w 2951115"/>
              <a:gd name="connsiteY15" fmla="*/ 697909 h 3240000"/>
              <a:gd name="connsiteX16" fmla="*/ 1331115 w 2951115"/>
              <a:gd name="connsiteY16" fmla="*/ 0 h 3240000"/>
              <a:gd name="connsiteX0" fmla="*/ 2508971 w 3046910"/>
              <a:gd name="connsiteY0" fmla="*/ 890255 h 2794837"/>
              <a:gd name="connsiteX1" fmla="*/ 2797073 w 3046910"/>
              <a:gd name="connsiteY1" fmla="*/ 933925 h 2794837"/>
              <a:gd name="connsiteX2" fmla="*/ 2951115 w 3046910"/>
              <a:gd name="connsiteY2" fmla="*/ 1620000 h 2794837"/>
              <a:gd name="connsiteX3" fmla="*/ 1303130 w 3046910"/>
              <a:gd name="connsiteY3" fmla="*/ 2794837 h 2794837"/>
              <a:gd name="connsiteX4" fmla="*/ 2507365 w 3046910"/>
              <a:gd name="connsiteY4" fmla="*/ 1620000 h 2794837"/>
              <a:gd name="connsiteX5" fmla="*/ 2408084 w 3046910"/>
              <a:gd name="connsiteY5" fmla="*/ 1147940 h 2794837"/>
              <a:gd name="connsiteX6" fmla="*/ 2508971 w 3046910"/>
              <a:gd name="connsiteY6" fmla="*/ 890255 h 2794837"/>
              <a:gd name="connsiteX7" fmla="*/ 1331115 w 3046910"/>
              <a:gd name="connsiteY7" fmla="*/ 0 h 2794837"/>
              <a:gd name="connsiteX8" fmla="*/ 2755924 w 3046910"/>
              <a:gd name="connsiteY8" fmla="*/ 848506 h 2794837"/>
              <a:gd name="connsiteX9" fmla="*/ 2458871 w 3046910"/>
              <a:gd name="connsiteY9" fmla="*/ 803479 h 2794837"/>
              <a:gd name="connsiteX10" fmla="*/ 2361327 w 3046910"/>
              <a:gd name="connsiteY10" fmla="*/ 1052627 h 2794837"/>
              <a:gd name="connsiteX11" fmla="*/ 1331115 w 3046910"/>
              <a:gd name="connsiteY11" fmla="*/ 443750 h 2794837"/>
              <a:gd name="connsiteX12" fmla="*/ 382532 w 3046910"/>
              <a:gd name="connsiteY12" fmla="*/ 926533 h 2794837"/>
              <a:gd name="connsiteX13" fmla="*/ 105923 w 3046910"/>
              <a:gd name="connsiteY13" fmla="*/ 968460 h 2794837"/>
              <a:gd name="connsiteX14" fmla="*/ 0 w 3046910"/>
              <a:gd name="connsiteY14" fmla="*/ 697909 h 2794837"/>
              <a:gd name="connsiteX15" fmla="*/ 1331115 w 3046910"/>
              <a:gd name="connsiteY15" fmla="*/ 0 h 2794837"/>
              <a:gd name="connsiteX0" fmla="*/ 2508971 w 2963402"/>
              <a:gd name="connsiteY0" fmla="*/ 890255 h 1692991"/>
              <a:gd name="connsiteX1" fmla="*/ 2797073 w 2963402"/>
              <a:gd name="connsiteY1" fmla="*/ 933925 h 1692991"/>
              <a:gd name="connsiteX2" fmla="*/ 2951115 w 2963402"/>
              <a:gd name="connsiteY2" fmla="*/ 1620000 h 1692991"/>
              <a:gd name="connsiteX3" fmla="*/ 2507365 w 2963402"/>
              <a:gd name="connsiteY3" fmla="*/ 1620000 h 1692991"/>
              <a:gd name="connsiteX4" fmla="*/ 2408084 w 2963402"/>
              <a:gd name="connsiteY4" fmla="*/ 1147940 h 1692991"/>
              <a:gd name="connsiteX5" fmla="*/ 2508971 w 2963402"/>
              <a:gd name="connsiteY5" fmla="*/ 890255 h 1692991"/>
              <a:gd name="connsiteX6" fmla="*/ 1331115 w 2963402"/>
              <a:gd name="connsiteY6" fmla="*/ 0 h 1692991"/>
              <a:gd name="connsiteX7" fmla="*/ 2755924 w 2963402"/>
              <a:gd name="connsiteY7" fmla="*/ 848506 h 1692991"/>
              <a:gd name="connsiteX8" fmla="*/ 2458871 w 2963402"/>
              <a:gd name="connsiteY8" fmla="*/ 803479 h 1692991"/>
              <a:gd name="connsiteX9" fmla="*/ 2361327 w 2963402"/>
              <a:gd name="connsiteY9" fmla="*/ 1052627 h 1692991"/>
              <a:gd name="connsiteX10" fmla="*/ 1331115 w 2963402"/>
              <a:gd name="connsiteY10" fmla="*/ 443750 h 1692991"/>
              <a:gd name="connsiteX11" fmla="*/ 382532 w 2963402"/>
              <a:gd name="connsiteY11" fmla="*/ 926533 h 1692991"/>
              <a:gd name="connsiteX12" fmla="*/ 105923 w 2963402"/>
              <a:gd name="connsiteY12" fmla="*/ 968460 h 1692991"/>
              <a:gd name="connsiteX13" fmla="*/ 0 w 2963402"/>
              <a:gd name="connsiteY13" fmla="*/ 697909 h 1692991"/>
              <a:gd name="connsiteX14" fmla="*/ 1331115 w 2963402"/>
              <a:gd name="connsiteY14" fmla="*/ 0 h 1692991"/>
              <a:gd name="connsiteX0" fmla="*/ 2508971 w 2969536"/>
              <a:gd name="connsiteY0" fmla="*/ 890255 h 1622317"/>
              <a:gd name="connsiteX1" fmla="*/ 2797073 w 2969536"/>
              <a:gd name="connsiteY1" fmla="*/ 933925 h 1622317"/>
              <a:gd name="connsiteX2" fmla="*/ 2951115 w 2969536"/>
              <a:gd name="connsiteY2" fmla="*/ 1620000 h 1622317"/>
              <a:gd name="connsiteX3" fmla="*/ 2408084 w 2969536"/>
              <a:gd name="connsiteY3" fmla="*/ 1147940 h 1622317"/>
              <a:gd name="connsiteX4" fmla="*/ 2508971 w 2969536"/>
              <a:gd name="connsiteY4" fmla="*/ 890255 h 1622317"/>
              <a:gd name="connsiteX5" fmla="*/ 1331115 w 2969536"/>
              <a:gd name="connsiteY5" fmla="*/ 0 h 1622317"/>
              <a:gd name="connsiteX6" fmla="*/ 2755924 w 2969536"/>
              <a:gd name="connsiteY6" fmla="*/ 848506 h 1622317"/>
              <a:gd name="connsiteX7" fmla="*/ 2458871 w 2969536"/>
              <a:gd name="connsiteY7" fmla="*/ 803479 h 1622317"/>
              <a:gd name="connsiteX8" fmla="*/ 2361327 w 2969536"/>
              <a:gd name="connsiteY8" fmla="*/ 1052627 h 1622317"/>
              <a:gd name="connsiteX9" fmla="*/ 1331115 w 2969536"/>
              <a:gd name="connsiteY9" fmla="*/ 443750 h 1622317"/>
              <a:gd name="connsiteX10" fmla="*/ 382532 w 2969536"/>
              <a:gd name="connsiteY10" fmla="*/ 926533 h 1622317"/>
              <a:gd name="connsiteX11" fmla="*/ 105923 w 2969536"/>
              <a:gd name="connsiteY11" fmla="*/ 968460 h 1622317"/>
              <a:gd name="connsiteX12" fmla="*/ 0 w 2969536"/>
              <a:gd name="connsiteY12" fmla="*/ 697909 h 1622317"/>
              <a:gd name="connsiteX13" fmla="*/ 1331115 w 2969536"/>
              <a:gd name="connsiteY13" fmla="*/ 0 h 1622317"/>
              <a:gd name="connsiteX0" fmla="*/ 2408084 w 2969536"/>
              <a:gd name="connsiteY0" fmla="*/ 1147940 h 1622317"/>
              <a:gd name="connsiteX1" fmla="*/ 2797073 w 2969536"/>
              <a:gd name="connsiteY1" fmla="*/ 933925 h 1622317"/>
              <a:gd name="connsiteX2" fmla="*/ 2951115 w 2969536"/>
              <a:gd name="connsiteY2" fmla="*/ 1620000 h 1622317"/>
              <a:gd name="connsiteX3" fmla="*/ 2408084 w 2969536"/>
              <a:gd name="connsiteY3" fmla="*/ 1147940 h 1622317"/>
              <a:gd name="connsiteX4" fmla="*/ 1331115 w 2969536"/>
              <a:gd name="connsiteY4" fmla="*/ 0 h 1622317"/>
              <a:gd name="connsiteX5" fmla="*/ 2755924 w 2969536"/>
              <a:gd name="connsiteY5" fmla="*/ 848506 h 1622317"/>
              <a:gd name="connsiteX6" fmla="*/ 2458871 w 2969536"/>
              <a:gd name="connsiteY6" fmla="*/ 803479 h 1622317"/>
              <a:gd name="connsiteX7" fmla="*/ 2361327 w 2969536"/>
              <a:gd name="connsiteY7" fmla="*/ 1052627 h 1622317"/>
              <a:gd name="connsiteX8" fmla="*/ 1331115 w 2969536"/>
              <a:gd name="connsiteY8" fmla="*/ 443750 h 1622317"/>
              <a:gd name="connsiteX9" fmla="*/ 382532 w 2969536"/>
              <a:gd name="connsiteY9" fmla="*/ 926533 h 1622317"/>
              <a:gd name="connsiteX10" fmla="*/ 105923 w 2969536"/>
              <a:gd name="connsiteY10" fmla="*/ 968460 h 1622317"/>
              <a:gd name="connsiteX11" fmla="*/ 0 w 2969536"/>
              <a:gd name="connsiteY11" fmla="*/ 697909 h 1622317"/>
              <a:gd name="connsiteX12" fmla="*/ 1331115 w 2969536"/>
              <a:gd name="connsiteY12" fmla="*/ 0 h 1622317"/>
              <a:gd name="connsiteX0" fmla="*/ 2408084 w 2951115"/>
              <a:gd name="connsiteY0" fmla="*/ 1147940 h 1622317"/>
              <a:gd name="connsiteX1" fmla="*/ 2951115 w 2951115"/>
              <a:gd name="connsiteY1" fmla="*/ 1620000 h 1622317"/>
              <a:gd name="connsiteX2" fmla="*/ 2408084 w 2951115"/>
              <a:gd name="connsiteY2" fmla="*/ 1147940 h 1622317"/>
              <a:gd name="connsiteX3" fmla="*/ 1331115 w 2951115"/>
              <a:gd name="connsiteY3" fmla="*/ 0 h 1622317"/>
              <a:gd name="connsiteX4" fmla="*/ 2755924 w 2951115"/>
              <a:gd name="connsiteY4" fmla="*/ 848506 h 1622317"/>
              <a:gd name="connsiteX5" fmla="*/ 2458871 w 2951115"/>
              <a:gd name="connsiteY5" fmla="*/ 803479 h 1622317"/>
              <a:gd name="connsiteX6" fmla="*/ 2361327 w 2951115"/>
              <a:gd name="connsiteY6" fmla="*/ 1052627 h 1622317"/>
              <a:gd name="connsiteX7" fmla="*/ 1331115 w 2951115"/>
              <a:gd name="connsiteY7" fmla="*/ 443750 h 1622317"/>
              <a:gd name="connsiteX8" fmla="*/ 382532 w 2951115"/>
              <a:gd name="connsiteY8" fmla="*/ 926533 h 1622317"/>
              <a:gd name="connsiteX9" fmla="*/ 105923 w 2951115"/>
              <a:gd name="connsiteY9" fmla="*/ 968460 h 1622317"/>
              <a:gd name="connsiteX10" fmla="*/ 0 w 2951115"/>
              <a:gd name="connsiteY10" fmla="*/ 697909 h 1622317"/>
              <a:gd name="connsiteX11" fmla="*/ 1331115 w 2951115"/>
              <a:gd name="connsiteY11" fmla="*/ 0 h 1622317"/>
              <a:gd name="connsiteX0" fmla="*/ 1331115 w 2755924"/>
              <a:gd name="connsiteY0" fmla="*/ 0 h 1052627"/>
              <a:gd name="connsiteX1" fmla="*/ 2755924 w 2755924"/>
              <a:gd name="connsiteY1" fmla="*/ 848506 h 1052627"/>
              <a:gd name="connsiteX2" fmla="*/ 2458871 w 2755924"/>
              <a:gd name="connsiteY2" fmla="*/ 803479 h 1052627"/>
              <a:gd name="connsiteX3" fmla="*/ 2361327 w 2755924"/>
              <a:gd name="connsiteY3" fmla="*/ 1052627 h 1052627"/>
              <a:gd name="connsiteX4" fmla="*/ 1331115 w 2755924"/>
              <a:gd name="connsiteY4" fmla="*/ 443750 h 1052627"/>
              <a:gd name="connsiteX5" fmla="*/ 382532 w 2755924"/>
              <a:gd name="connsiteY5" fmla="*/ 926533 h 1052627"/>
              <a:gd name="connsiteX6" fmla="*/ 105923 w 2755924"/>
              <a:gd name="connsiteY6" fmla="*/ 968460 h 1052627"/>
              <a:gd name="connsiteX7" fmla="*/ 0 w 2755924"/>
              <a:gd name="connsiteY7" fmla="*/ 697909 h 1052627"/>
              <a:gd name="connsiteX8" fmla="*/ 1331115 w 2755924"/>
              <a:gd name="connsiteY8" fmla="*/ 0 h 1052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55924" h="1052627">
                <a:moveTo>
                  <a:pt x="1331115" y="0"/>
                </a:moveTo>
                <a:cubicBezTo>
                  <a:pt x="1946497" y="0"/>
                  <a:pt x="2481738" y="343123"/>
                  <a:pt x="2755924" y="848506"/>
                </a:cubicBezTo>
                <a:lnTo>
                  <a:pt x="2458871" y="803479"/>
                </a:lnTo>
                <a:lnTo>
                  <a:pt x="2361327" y="1052627"/>
                </a:lnTo>
                <a:cubicBezTo>
                  <a:pt x="2161347" y="689556"/>
                  <a:pt x="1774936" y="443750"/>
                  <a:pt x="1331115" y="443750"/>
                </a:cubicBezTo>
                <a:cubicBezTo>
                  <a:pt x="941142" y="443750"/>
                  <a:pt x="595494" y="633528"/>
                  <a:pt x="382532" y="926533"/>
                </a:cubicBezTo>
                <a:lnTo>
                  <a:pt x="105923" y="968460"/>
                </a:lnTo>
                <a:lnTo>
                  <a:pt x="0" y="697909"/>
                </a:lnTo>
                <a:cubicBezTo>
                  <a:pt x="291808" y="275964"/>
                  <a:pt x="779234" y="0"/>
                  <a:pt x="1331115" y="0"/>
                </a:cubicBezTo>
                <a:close/>
              </a:path>
            </a:pathLst>
          </a:custGeom>
          <a:solidFill>
            <a:srgbClr val="55A0B9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89" name="Textfeld 166"/>
          <p:cNvSpPr txBox="1"/>
          <p:nvPr/>
        </p:nvSpPr>
        <p:spPr>
          <a:xfrm>
            <a:off x="8331485" y="4437140"/>
            <a:ext cx="3312460" cy="16250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CA" sz="2400" b="1" dirty="0" smtClean="0">
                <a:solidFill>
                  <a:schemeClr val="accent5"/>
                </a:solidFill>
                <a:latin typeface="+mj-lt"/>
              </a:rPr>
              <a:t>Variété et complexité des tâches de travail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CA" sz="2400" b="1" dirty="0" smtClean="0">
                <a:solidFill>
                  <a:schemeClr val="accent5"/>
                </a:solidFill>
                <a:latin typeface="+mj-lt"/>
              </a:rPr>
              <a:t>à la hausse</a:t>
            </a:r>
            <a:endParaRPr lang="en-US" sz="2400" b="1" dirty="0" smtClean="0">
              <a:solidFill>
                <a:schemeClr val="accent5"/>
              </a:solidFill>
              <a:latin typeface="+mj-lt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2400" b="1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1" name="Textfeld 168"/>
          <p:cNvSpPr txBox="1"/>
          <p:nvPr/>
        </p:nvSpPr>
        <p:spPr>
          <a:xfrm>
            <a:off x="3794855" y="2132820"/>
            <a:ext cx="59768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CA" sz="2400" b="1" dirty="0" smtClean="0">
                <a:solidFill>
                  <a:schemeClr val="accent5"/>
                </a:solidFill>
                <a:latin typeface="+mj-lt"/>
              </a:rPr>
              <a:t>Nouveaux parcours de carrière</a:t>
            </a:r>
            <a:endParaRPr lang="en-US" sz="2400" b="1" dirty="0" smtClean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93" name="Textfeld 170"/>
          <p:cNvSpPr txBox="1"/>
          <p:nvPr/>
        </p:nvSpPr>
        <p:spPr>
          <a:xfrm>
            <a:off x="1274505" y="4437140"/>
            <a:ext cx="316844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CA" sz="2400" b="1" dirty="0" smtClean="0">
                <a:solidFill>
                  <a:schemeClr val="accent5"/>
                </a:solidFill>
                <a:latin typeface="+mj-lt"/>
              </a:rPr>
              <a:t>Lieu et horaire de travail flexible</a:t>
            </a:r>
          </a:p>
        </p:txBody>
      </p:sp>
      <p:pic>
        <p:nvPicPr>
          <p:cNvPr id="95" name="Grafik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125" y="3212924"/>
            <a:ext cx="638246" cy="2201053"/>
          </a:xfrm>
          <a:prstGeom prst="rect">
            <a:avLst/>
          </a:prstGeom>
        </p:spPr>
      </p:pic>
      <p:pic>
        <p:nvPicPr>
          <p:cNvPr id="96" name="Grafik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185" y="3429000"/>
            <a:ext cx="577460" cy="199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29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La main-d’œuvre de l’avenir rendra possible la numérisation</a:t>
            </a:r>
            <a:endParaRPr lang="en-US" dirty="0"/>
          </a:p>
        </p:txBody>
      </p:sp>
      <p:sp>
        <p:nvSpPr>
          <p:cNvPr id="62" name="Rechteck 12"/>
          <p:cNvSpPr/>
          <p:nvPr/>
        </p:nvSpPr>
        <p:spPr bwMode="auto">
          <a:xfrm>
            <a:off x="0" y="1416058"/>
            <a:ext cx="12198350" cy="4749322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612000" tIns="144000" rIns="504000" bIns="14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</a:pPr>
            <a:endParaRPr lang="en-US" sz="3200" dirty="0">
              <a:solidFill>
                <a:srgbClr val="006487"/>
              </a:solidFill>
            </a:endParaRPr>
          </a:p>
        </p:txBody>
      </p:sp>
      <p:sp>
        <p:nvSpPr>
          <p:cNvPr id="66" name="Textfeld 167"/>
          <p:cNvSpPr txBox="1"/>
          <p:nvPr/>
        </p:nvSpPr>
        <p:spPr>
          <a:xfrm>
            <a:off x="6793" y="1268700"/>
            <a:ext cx="12292035" cy="576080"/>
          </a:xfrm>
          <a:prstGeom prst="rect">
            <a:avLst/>
          </a:pr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</p:spPr>
        <p:txBody>
          <a:bodyPr wrap="square" lIns="287942" tIns="144000" rIns="215957" bIns="216000" anchor="ctr">
            <a:noAutofit/>
          </a:bodyPr>
          <a:lstStyle/>
          <a:p>
            <a:pPr algn="ctr"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</a:pPr>
            <a:r>
              <a:rPr lang="fr-CA" altLang="de-DE" sz="2800" b="1" dirty="0" smtClean="0">
                <a:solidFill>
                  <a:srgbClr val="FFFFFF"/>
                </a:solidFill>
                <a:latin typeface="Arial"/>
                <a:cs typeface="Arial" charset="0"/>
              </a:rPr>
              <a:t>Nouvelles façons de FORMER</a:t>
            </a:r>
            <a:endParaRPr lang="en-US" altLang="de-DE" sz="2800" b="1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98305" name="Picture 1" descr="C:\Users\heidbu-l\AppData\Local\Microsoft\Windows\Temporary Internet Files\Content.Outlook\2N9MOV9S\iStock_000055354950XXXLarge-smaller.jpg"/>
          <p:cNvPicPr>
            <a:picLocks noChangeAspect="1" noChangeArrowheads="1"/>
          </p:cNvPicPr>
          <p:nvPr/>
        </p:nvPicPr>
        <p:blipFill>
          <a:blip r:embed="rId3"/>
          <a:srcRect l="6674"/>
          <a:stretch>
            <a:fillRect/>
          </a:stretch>
        </p:blipFill>
        <p:spPr bwMode="auto">
          <a:xfrm>
            <a:off x="0" y="1844780"/>
            <a:ext cx="6041802" cy="4320599"/>
          </a:xfrm>
          <a:prstGeom prst="rect">
            <a:avLst/>
          </a:prstGeom>
          <a:noFill/>
        </p:spPr>
      </p:pic>
      <p:pic>
        <p:nvPicPr>
          <p:cNvPr id="98307" name="Picture 3" descr="Picture">
            <a:hlinkClick r:id="rId4"/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707309" y="1844781"/>
            <a:ext cx="6491041" cy="43205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722956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/>
          <p:cNvSpPr/>
          <p:nvPr/>
        </p:nvSpPr>
        <p:spPr bwMode="auto">
          <a:xfrm>
            <a:off x="0" y="1412720"/>
            <a:ext cx="12198350" cy="4749322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612000" tIns="144000" rIns="504000" bIns="144000" numCol="1" spcCol="72000" rtlCol="0" anchor="t">
            <a:noAutofit/>
          </a:bodyPr>
          <a:lstStyle/>
          <a:p>
            <a:pPr lv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</a:pPr>
            <a:endParaRPr lang="en-US" sz="2000" b="1" dirty="0">
              <a:solidFill>
                <a:schemeClr val="accent6"/>
              </a:solidFill>
              <a:latin typeface="+mj-lt"/>
              <a:cs typeface="Arial"/>
            </a:endParaRPr>
          </a:p>
        </p:txBody>
      </p:sp>
      <p:sp>
        <p:nvSpPr>
          <p:cNvPr id="27" name="Eingekerbter Richtungspfeil 26"/>
          <p:cNvSpPr/>
          <p:nvPr/>
        </p:nvSpPr>
        <p:spPr bwMode="auto">
          <a:xfrm>
            <a:off x="4226915" y="1412776"/>
            <a:ext cx="1008000" cy="4753074"/>
          </a:xfrm>
          <a:prstGeom prst="chevron">
            <a:avLst>
              <a:gd name="adj" fmla="val 85762"/>
            </a:avLst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fr-CA" dirty="0" smtClean="0"/>
              <a:t>Industrie 4.0 : Reconnaître et combler les écarts </a:t>
            </a:r>
            <a:br>
              <a:rPr lang="fr-CA" dirty="0" smtClean="0"/>
            </a:br>
            <a:r>
              <a:rPr lang="fr-CA" dirty="0" smtClean="0"/>
              <a:t>en matière de compétences au sein de nos effectifs</a:t>
            </a:r>
            <a:endParaRPr lang="en-US" dirty="0"/>
          </a:p>
        </p:txBody>
      </p:sp>
      <p:grpSp>
        <p:nvGrpSpPr>
          <p:cNvPr id="3" name="Gruppieren 39"/>
          <p:cNvGrpSpPr/>
          <p:nvPr/>
        </p:nvGrpSpPr>
        <p:grpSpPr>
          <a:xfrm>
            <a:off x="626416" y="1766902"/>
            <a:ext cx="3896358" cy="3894407"/>
            <a:chOff x="626415" y="1994924"/>
            <a:chExt cx="3198397" cy="3196796"/>
          </a:xfrm>
        </p:grpSpPr>
        <p:sp>
          <p:nvSpPr>
            <p:cNvPr id="29" name="Ellipse 12"/>
            <p:cNvSpPr>
              <a:spLocks noChangeAspect="1"/>
            </p:cNvSpPr>
            <p:nvPr/>
          </p:nvSpPr>
          <p:spPr bwMode="auto">
            <a:xfrm>
              <a:off x="628015" y="1994924"/>
              <a:ext cx="3196796" cy="3196796"/>
            </a:xfrm>
            <a:prstGeom prst="ellipse">
              <a:avLst/>
            </a:prstGeom>
            <a:solidFill>
              <a:srgbClr val="EBEBE3"/>
            </a:solidFill>
            <a:ln w="9525">
              <a:noFill/>
              <a:round/>
              <a:headEnd/>
              <a:tailEnd/>
            </a:ln>
          </p:spPr>
          <p:txBody>
            <a:bodyPr lIns="108000" tIns="54000" rIns="108000" bIns="54000" anchor="ctr"/>
            <a:lstStyle/>
            <a:p>
              <a:pPr algn="ctr">
                <a:lnSpc>
                  <a:spcPct val="110000"/>
                </a:lnSpc>
                <a:buFont typeface="Wingdings" pitchFamily="2" charset="2"/>
                <a:buNone/>
              </a:pPr>
              <a:endParaRPr lang="en-US" b="1" dirty="0">
                <a:solidFill>
                  <a:schemeClr val="tx1"/>
                </a:solidFill>
              </a:endParaRPr>
            </a:p>
          </p:txBody>
        </p:sp>
        <p:grpSp>
          <p:nvGrpSpPr>
            <p:cNvPr id="4" name="Gruppieren 60"/>
            <p:cNvGrpSpPr>
              <a:grpSpLocks/>
            </p:cNvGrpSpPr>
            <p:nvPr/>
          </p:nvGrpSpPr>
          <p:grpSpPr bwMode="auto">
            <a:xfrm>
              <a:off x="628015" y="1994924"/>
              <a:ext cx="3196797" cy="3196796"/>
              <a:chOff x="454025" y="2312988"/>
              <a:chExt cx="3170238" cy="3170237"/>
            </a:xfrm>
          </p:grpSpPr>
          <p:grpSp>
            <p:nvGrpSpPr>
              <p:cNvPr id="7" name="Gruppieren 55"/>
              <p:cNvGrpSpPr>
                <a:grpSpLocks/>
              </p:cNvGrpSpPr>
              <p:nvPr/>
            </p:nvGrpSpPr>
            <p:grpSpPr bwMode="auto">
              <a:xfrm>
                <a:off x="454025" y="2312988"/>
                <a:ext cx="3170238" cy="3170237"/>
                <a:chOff x="454025" y="2312988"/>
                <a:chExt cx="3170238" cy="3170237"/>
              </a:xfrm>
            </p:grpSpPr>
            <p:sp>
              <p:nvSpPr>
                <p:cNvPr id="9" name="Ellipse 12"/>
                <p:cNvSpPr>
                  <a:spLocks noChangeAspect="1"/>
                </p:cNvSpPr>
                <p:nvPr/>
              </p:nvSpPr>
              <p:spPr bwMode="auto">
                <a:xfrm>
                  <a:off x="454026" y="2312988"/>
                  <a:ext cx="3170237" cy="3170237"/>
                </a:xfrm>
                <a:prstGeom prst="ellipse">
                  <a:avLst/>
                </a:prstGeom>
                <a:noFill/>
                <a:ln w="12700">
                  <a:solidFill>
                    <a:srgbClr val="D7D7CD"/>
                  </a:solidFill>
                  <a:round/>
                  <a:headEnd/>
                  <a:tailEnd/>
                </a:ln>
              </p:spPr>
              <p:txBody>
                <a:bodyPr lIns="108000" tIns="54000" rIns="108000" bIns="54000" anchor="ctr"/>
                <a:lstStyle/>
                <a:p>
                  <a:pPr algn="ctr">
                    <a:lnSpc>
                      <a:spcPct val="110000"/>
                    </a:lnSpc>
                    <a:buFont typeface="Wingdings" pitchFamily="2" charset="2"/>
                    <a:buNone/>
                  </a:pPr>
                  <a:endParaRPr lang="en-US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" name="Ellipse 14"/>
                <p:cNvSpPr>
                  <a:spLocks noChangeAspect="1"/>
                </p:cNvSpPr>
                <p:nvPr/>
              </p:nvSpPr>
              <p:spPr bwMode="auto">
                <a:xfrm>
                  <a:off x="765573" y="2624535"/>
                  <a:ext cx="2547143" cy="2547143"/>
                </a:xfrm>
                <a:prstGeom prst="ellipse">
                  <a:avLst/>
                </a:prstGeom>
                <a:noFill/>
                <a:ln w="12700">
                  <a:solidFill>
                    <a:srgbClr val="D7D7CD"/>
                  </a:solidFill>
                  <a:round/>
                  <a:headEnd/>
                  <a:tailEnd/>
                </a:ln>
              </p:spPr>
              <p:txBody>
                <a:bodyPr lIns="108000" tIns="54000" rIns="108000" bIns="54000" anchor="ctr"/>
                <a:lstStyle/>
                <a:p>
                  <a:pPr algn="ctr">
                    <a:lnSpc>
                      <a:spcPct val="110000"/>
                    </a:lnSpc>
                    <a:buFont typeface="Wingdings" pitchFamily="2" charset="2"/>
                    <a:buNone/>
                  </a:pPr>
                  <a:endParaRPr lang="en-US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" name="Ellipse 15"/>
                <p:cNvSpPr>
                  <a:spLocks noChangeAspect="1"/>
                </p:cNvSpPr>
                <p:nvPr/>
              </p:nvSpPr>
              <p:spPr bwMode="auto">
                <a:xfrm>
                  <a:off x="1073151" y="2932113"/>
                  <a:ext cx="1931987" cy="1931987"/>
                </a:xfrm>
                <a:prstGeom prst="ellipse">
                  <a:avLst/>
                </a:prstGeom>
                <a:noFill/>
                <a:ln w="12700">
                  <a:solidFill>
                    <a:srgbClr val="D7D7CD"/>
                  </a:solidFill>
                  <a:round/>
                  <a:headEnd/>
                  <a:tailEnd/>
                </a:ln>
              </p:spPr>
              <p:txBody>
                <a:bodyPr lIns="108000" tIns="54000" rIns="108000" bIns="54000" anchor="ctr"/>
                <a:lstStyle/>
                <a:p>
                  <a:pPr algn="ctr">
                    <a:lnSpc>
                      <a:spcPct val="110000"/>
                    </a:lnSpc>
                    <a:buFont typeface="Wingdings" pitchFamily="2" charset="2"/>
                    <a:buNone/>
                  </a:pPr>
                  <a:endParaRPr lang="en-US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Ellipse 22"/>
                <p:cNvSpPr>
                  <a:spLocks noChangeAspect="1"/>
                </p:cNvSpPr>
                <p:nvPr/>
              </p:nvSpPr>
              <p:spPr bwMode="auto">
                <a:xfrm>
                  <a:off x="1403413" y="3262375"/>
                  <a:ext cx="1271463" cy="1271463"/>
                </a:xfrm>
                <a:prstGeom prst="ellipse">
                  <a:avLst/>
                </a:prstGeom>
                <a:noFill/>
                <a:ln w="12700">
                  <a:solidFill>
                    <a:srgbClr val="D7D7CD"/>
                  </a:solidFill>
                  <a:round/>
                  <a:headEnd/>
                  <a:tailEnd/>
                </a:ln>
              </p:spPr>
              <p:txBody>
                <a:bodyPr lIns="108000" tIns="54000" rIns="108000" bIns="54000" anchor="ctr"/>
                <a:lstStyle/>
                <a:p>
                  <a:pPr algn="ctr">
                    <a:lnSpc>
                      <a:spcPct val="110000"/>
                    </a:lnSpc>
                    <a:buFont typeface="Wingdings" pitchFamily="2" charset="2"/>
                    <a:buNone/>
                  </a:pPr>
                  <a:endParaRPr lang="en-US" b="1" dirty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3" name="Gerade Verbindung 28"/>
                <p:cNvCxnSpPr>
                  <a:cxnSpLocks noChangeShapeType="1"/>
                </p:cNvCxnSpPr>
                <p:nvPr/>
              </p:nvCxnSpPr>
              <p:spPr bwMode="auto">
                <a:xfrm flipH="1">
                  <a:off x="454026" y="3898106"/>
                  <a:ext cx="3170237" cy="0"/>
                </a:xfrm>
                <a:prstGeom prst="line">
                  <a:avLst/>
                </a:prstGeom>
                <a:noFill/>
                <a:ln w="12700" algn="ctr">
                  <a:solidFill>
                    <a:srgbClr val="D7D7CD"/>
                  </a:solidFill>
                  <a:round/>
                  <a:headEnd/>
                  <a:tailEnd/>
                </a:ln>
              </p:spPr>
            </p:cxnSp>
            <p:grpSp>
              <p:nvGrpSpPr>
                <p:cNvPr id="14" name="Gruppieren 40"/>
                <p:cNvGrpSpPr>
                  <a:grpSpLocks/>
                </p:cNvGrpSpPr>
                <p:nvPr/>
              </p:nvGrpSpPr>
              <p:grpSpPr bwMode="auto">
                <a:xfrm>
                  <a:off x="918297" y="2312988"/>
                  <a:ext cx="2241695" cy="3170237"/>
                  <a:chOff x="918297" y="2312988"/>
                  <a:chExt cx="2241695" cy="3170237"/>
                </a:xfrm>
              </p:grpSpPr>
              <p:cxnSp>
                <p:nvCxnSpPr>
                  <p:cNvPr id="23" name="Gerade Verbindung 24"/>
                  <p:cNvCxnSpPr>
                    <a:cxnSpLocks noChangeShapeType="1"/>
                    <a:stCxn id="9" idx="0"/>
                    <a:endCxn id="9" idx="4"/>
                  </p:cNvCxnSpPr>
                  <p:nvPr/>
                </p:nvCxnSpPr>
                <p:spPr bwMode="auto">
                  <a:xfrm>
                    <a:off x="2039145" y="2312988"/>
                    <a:ext cx="0" cy="3170237"/>
                  </a:xfrm>
                  <a:prstGeom prst="line">
                    <a:avLst/>
                  </a:prstGeom>
                  <a:noFill/>
                  <a:ln w="12700" algn="ctr">
                    <a:solidFill>
                      <a:srgbClr val="D7D7CD"/>
                    </a:solidFill>
                    <a:round/>
                    <a:headEnd/>
                    <a:tailEnd/>
                  </a:ln>
                </p:spPr>
              </p:cxnSp>
              <p:cxnSp>
                <p:nvCxnSpPr>
                  <p:cNvPr id="24" name="Gerade Verbindung 31"/>
                  <p:cNvCxnSpPr>
                    <a:cxnSpLocks noChangeShapeType="1"/>
                    <a:stCxn id="9" idx="5"/>
                    <a:endCxn id="9" idx="1"/>
                  </p:cNvCxnSpPr>
                  <p:nvPr/>
                </p:nvCxnSpPr>
                <p:spPr bwMode="auto">
                  <a:xfrm flipH="1" flipV="1">
                    <a:off x="918297" y="2777258"/>
                    <a:ext cx="2241695" cy="2241697"/>
                  </a:xfrm>
                  <a:prstGeom prst="line">
                    <a:avLst/>
                  </a:prstGeom>
                  <a:noFill/>
                  <a:ln w="12700" algn="ctr">
                    <a:solidFill>
                      <a:srgbClr val="D7D7CD"/>
                    </a:solidFill>
                    <a:round/>
                    <a:headEnd/>
                    <a:tailEnd/>
                  </a:ln>
                </p:spPr>
              </p:cxnSp>
              <p:cxnSp>
                <p:nvCxnSpPr>
                  <p:cNvPr id="25" name="Gerade Verbindung 35"/>
                  <p:cNvCxnSpPr>
                    <a:cxnSpLocks noChangeShapeType="1"/>
                    <a:stCxn id="9" idx="7"/>
                    <a:endCxn id="9" idx="3"/>
                  </p:cNvCxnSpPr>
                  <p:nvPr/>
                </p:nvCxnSpPr>
                <p:spPr bwMode="auto">
                  <a:xfrm flipH="1">
                    <a:off x="918297" y="2777258"/>
                    <a:ext cx="2241695" cy="2241697"/>
                  </a:xfrm>
                  <a:prstGeom prst="line">
                    <a:avLst/>
                  </a:prstGeom>
                  <a:noFill/>
                  <a:ln w="12700" algn="ctr">
                    <a:solidFill>
                      <a:srgbClr val="D7D7CD"/>
                    </a:solidFill>
                    <a:round/>
                    <a:headEnd/>
                    <a:tailEnd/>
                  </a:ln>
                </p:spPr>
              </p:cxnSp>
            </p:grpSp>
            <p:cxnSp>
              <p:nvCxnSpPr>
                <p:cNvPr id="15" name="Gerade Verbindung 42"/>
                <p:cNvCxnSpPr>
                  <a:cxnSpLocks noChangeShapeType="1"/>
                </p:cNvCxnSpPr>
                <p:nvPr/>
              </p:nvCxnSpPr>
              <p:spPr bwMode="auto">
                <a:xfrm rot="7200000">
                  <a:off x="2039144" y="2312988"/>
                  <a:ext cx="0" cy="3170237"/>
                </a:xfrm>
                <a:prstGeom prst="line">
                  <a:avLst/>
                </a:prstGeom>
                <a:noFill/>
                <a:ln w="12700" algn="ctr">
                  <a:solidFill>
                    <a:srgbClr val="D7D7CD"/>
                  </a:solidFill>
                  <a:round/>
                  <a:headEnd/>
                  <a:tailEnd/>
                </a:ln>
              </p:spPr>
            </p:cxnSp>
            <p:cxnSp>
              <p:nvCxnSpPr>
                <p:cNvPr id="16" name="Gerade Verbindung 43"/>
                <p:cNvCxnSpPr>
                  <a:cxnSpLocks noChangeShapeType="1"/>
                </p:cNvCxnSpPr>
                <p:nvPr/>
              </p:nvCxnSpPr>
              <p:spPr bwMode="auto">
                <a:xfrm rot="7200000" flipH="1" flipV="1">
                  <a:off x="918297" y="2777258"/>
                  <a:ext cx="2241695" cy="2241697"/>
                </a:xfrm>
                <a:prstGeom prst="line">
                  <a:avLst/>
                </a:prstGeom>
                <a:noFill/>
                <a:ln w="12700" algn="ctr">
                  <a:solidFill>
                    <a:srgbClr val="D7D7CD"/>
                  </a:solidFill>
                  <a:round/>
                  <a:headEnd/>
                  <a:tailEnd/>
                </a:ln>
              </p:spPr>
            </p:cxnSp>
            <p:cxnSp>
              <p:nvCxnSpPr>
                <p:cNvPr id="17" name="Gerade Verbindung 44"/>
                <p:cNvCxnSpPr>
                  <a:cxnSpLocks noChangeShapeType="1"/>
                </p:cNvCxnSpPr>
                <p:nvPr/>
              </p:nvCxnSpPr>
              <p:spPr bwMode="auto">
                <a:xfrm rot="7200000" flipH="1">
                  <a:off x="918297" y="2777258"/>
                  <a:ext cx="2241695" cy="2241697"/>
                </a:xfrm>
                <a:prstGeom prst="line">
                  <a:avLst/>
                </a:prstGeom>
                <a:noFill/>
                <a:ln w="12700" algn="ctr">
                  <a:solidFill>
                    <a:srgbClr val="D7D7CD"/>
                  </a:solidFill>
                  <a:round/>
                  <a:headEnd/>
                  <a:tailEnd/>
                </a:ln>
              </p:spPr>
            </p:cxnSp>
            <p:grpSp>
              <p:nvGrpSpPr>
                <p:cNvPr id="18" name="Gruppieren 45"/>
                <p:cNvGrpSpPr>
                  <a:grpSpLocks/>
                </p:cNvGrpSpPr>
                <p:nvPr/>
              </p:nvGrpSpPr>
              <p:grpSpPr bwMode="auto">
                <a:xfrm rot="-7200000">
                  <a:off x="918297" y="2312988"/>
                  <a:ext cx="2241695" cy="3170237"/>
                  <a:chOff x="918297" y="2312988"/>
                  <a:chExt cx="2241695" cy="3170237"/>
                </a:xfrm>
              </p:grpSpPr>
              <p:cxnSp>
                <p:nvCxnSpPr>
                  <p:cNvPr id="20" name="Gerade Verbindung 46"/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039145" y="2312988"/>
                    <a:ext cx="0" cy="3170237"/>
                  </a:xfrm>
                  <a:prstGeom prst="line">
                    <a:avLst/>
                  </a:prstGeom>
                  <a:noFill/>
                  <a:ln w="12700" algn="ctr">
                    <a:solidFill>
                      <a:srgbClr val="D7D7CD"/>
                    </a:solidFill>
                    <a:round/>
                    <a:headEnd/>
                    <a:tailEnd/>
                  </a:ln>
                </p:spPr>
              </p:cxnSp>
              <p:cxnSp>
                <p:nvCxnSpPr>
                  <p:cNvPr id="21" name="Gerade Verbindung 47"/>
                  <p:cNvCxnSpPr>
                    <a:cxnSpLocks noChangeShapeType="1"/>
                  </p:cNvCxnSpPr>
                  <p:nvPr/>
                </p:nvCxnSpPr>
                <p:spPr bwMode="auto">
                  <a:xfrm flipH="1" flipV="1">
                    <a:off x="918297" y="2777258"/>
                    <a:ext cx="2241695" cy="2241697"/>
                  </a:xfrm>
                  <a:prstGeom prst="line">
                    <a:avLst/>
                  </a:prstGeom>
                  <a:noFill/>
                  <a:ln w="12700" algn="ctr">
                    <a:solidFill>
                      <a:srgbClr val="D7D7CD"/>
                    </a:solidFill>
                    <a:round/>
                    <a:headEnd/>
                    <a:tailEnd/>
                  </a:ln>
                </p:spPr>
              </p:cxnSp>
              <p:cxnSp>
                <p:nvCxnSpPr>
                  <p:cNvPr id="22" name="Gerade Verbindung 48"/>
                  <p:cNvCxnSpPr>
                    <a:cxnSpLocks noChangeShapeType="1"/>
                  </p:cNvCxnSpPr>
                  <p:nvPr/>
                </p:nvCxnSpPr>
                <p:spPr bwMode="auto">
                  <a:xfrm flipH="1">
                    <a:off x="918297" y="2777258"/>
                    <a:ext cx="2241695" cy="2241697"/>
                  </a:xfrm>
                  <a:prstGeom prst="line">
                    <a:avLst/>
                  </a:prstGeom>
                  <a:noFill/>
                  <a:ln w="12700" algn="ctr">
                    <a:solidFill>
                      <a:srgbClr val="D7D7CD"/>
                    </a:solidFill>
                    <a:round/>
                    <a:headEnd/>
                    <a:tailEnd/>
                  </a:ln>
                </p:spPr>
              </p:cxnSp>
            </p:grpSp>
            <p:cxnSp>
              <p:nvCxnSpPr>
                <p:cNvPr id="19" name="Gerade Verbindung 50"/>
                <p:cNvCxnSpPr>
                  <a:cxnSpLocks noChangeShapeType="1"/>
                </p:cNvCxnSpPr>
                <p:nvPr/>
              </p:nvCxnSpPr>
              <p:spPr bwMode="auto">
                <a:xfrm flipH="1" flipV="1">
                  <a:off x="1240631" y="2538413"/>
                  <a:ext cx="1595439" cy="2721768"/>
                </a:xfrm>
                <a:prstGeom prst="line">
                  <a:avLst/>
                </a:prstGeom>
                <a:noFill/>
                <a:ln w="12700" algn="ctr">
                  <a:solidFill>
                    <a:srgbClr val="D7D7CD"/>
                  </a:solidFill>
                  <a:round/>
                  <a:headEnd/>
                  <a:tailEnd/>
                </a:ln>
              </p:spPr>
            </p:cxnSp>
          </p:grpSp>
          <p:cxnSp>
            <p:nvCxnSpPr>
              <p:cNvPr id="8" name="Gerade Verbindung 56"/>
              <p:cNvCxnSpPr>
                <a:cxnSpLocks noChangeShapeType="1"/>
              </p:cNvCxnSpPr>
              <p:nvPr/>
            </p:nvCxnSpPr>
            <p:spPr bwMode="auto">
              <a:xfrm flipV="1">
                <a:off x="1240631" y="2538413"/>
                <a:ext cx="1595439" cy="2721768"/>
              </a:xfrm>
              <a:prstGeom prst="line">
                <a:avLst/>
              </a:prstGeom>
              <a:noFill/>
              <a:ln w="12700" algn="ctr">
                <a:solidFill>
                  <a:srgbClr val="D7D7CD"/>
                </a:solidFill>
                <a:round/>
                <a:headEnd/>
                <a:tailEnd/>
              </a:ln>
            </p:spPr>
          </p:cxnSp>
        </p:grpSp>
        <p:sp>
          <p:nvSpPr>
            <p:cNvPr id="5" name="Freihandform 4"/>
            <p:cNvSpPr/>
            <p:nvPr/>
          </p:nvSpPr>
          <p:spPr bwMode="auto">
            <a:xfrm>
              <a:off x="626415" y="2630441"/>
              <a:ext cx="2891044" cy="2089044"/>
            </a:xfrm>
            <a:custGeom>
              <a:avLst/>
              <a:gdLst>
                <a:gd name="connsiteX0" fmla="*/ 1733550 w 2867025"/>
                <a:gd name="connsiteY0" fmla="*/ 681038 h 2071688"/>
                <a:gd name="connsiteX1" fmla="*/ 2038350 w 2867025"/>
                <a:gd name="connsiteY1" fmla="*/ 514350 h 2071688"/>
                <a:gd name="connsiteX2" fmla="*/ 1881187 w 2867025"/>
                <a:gd name="connsiteY2" fmla="*/ 795338 h 2071688"/>
                <a:gd name="connsiteX3" fmla="*/ 2814637 w 2867025"/>
                <a:gd name="connsiteY3" fmla="*/ 633413 h 2071688"/>
                <a:gd name="connsiteX4" fmla="*/ 2867025 w 2867025"/>
                <a:gd name="connsiteY4" fmla="*/ 957263 h 2071688"/>
                <a:gd name="connsiteX5" fmla="*/ 2219325 w 2867025"/>
                <a:gd name="connsiteY5" fmla="*/ 1128713 h 2071688"/>
                <a:gd name="connsiteX6" fmla="*/ 2686050 w 2867025"/>
                <a:gd name="connsiteY6" fmla="*/ 1604963 h 2071688"/>
                <a:gd name="connsiteX7" fmla="*/ 2481262 w 2867025"/>
                <a:gd name="connsiteY7" fmla="*/ 1871663 h 2071688"/>
                <a:gd name="connsiteX8" fmla="*/ 2224087 w 2867025"/>
                <a:gd name="connsiteY8" fmla="*/ 2071688 h 2071688"/>
                <a:gd name="connsiteX9" fmla="*/ 1828800 w 2867025"/>
                <a:gd name="connsiteY9" fmla="*/ 1885950 h 2071688"/>
                <a:gd name="connsiteX10" fmla="*/ 1595437 w 2867025"/>
                <a:gd name="connsiteY10" fmla="*/ 1619250 h 2071688"/>
                <a:gd name="connsiteX11" fmla="*/ 1419225 w 2867025"/>
                <a:gd name="connsiteY11" fmla="*/ 1585913 h 2071688"/>
                <a:gd name="connsiteX12" fmla="*/ 1419225 w 2867025"/>
                <a:gd name="connsiteY12" fmla="*/ 1243013 h 2071688"/>
                <a:gd name="connsiteX13" fmla="*/ 1138237 w 2867025"/>
                <a:gd name="connsiteY13" fmla="*/ 1395413 h 2071688"/>
                <a:gd name="connsiteX14" fmla="*/ 476250 w 2867025"/>
                <a:gd name="connsiteY14" fmla="*/ 1600200 h 2071688"/>
                <a:gd name="connsiteX15" fmla="*/ 347662 w 2867025"/>
                <a:gd name="connsiteY15" fmla="*/ 1290638 h 2071688"/>
                <a:gd name="connsiteX16" fmla="*/ 0 w 2867025"/>
                <a:gd name="connsiteY16" fmla="*/ 957263 h 2071688"/>
                <a:gd name="connsiteX17" fmla="*/ 647700 w 2867025"/>
                <a:gd name="connsiteY17" fmla="*/ 714375 h 2071688"/>
                <a:gd name="connsiteX18" fmla="*/ 1304925 w 2867025"/>
                <a:gd name="connsiteY18" fmla="*/ 804863 h 2071688"/>
                <a:gd name="connsiteX19" fmla="*/ 685800 w 2867025"/>
                <a:gd name="connsiteY19" fmla="*/ 66675 h 2071688"/>
                <a:gd name="connsiteX20" fmla="*/ 1109662 w 2867025"/>
                <a:gd name="connsiteY20" fmla="*/ 147638 h 2071688"/>
                <a:gd name="connsiteX21" fmla="*/ 1338262 w 2867025"/>
                <a:gd name="connsiteY21" fmla="*/ 23813 h 2071688"/>
                <a:gd name="connsiteX22" fmla="*/ 1585912 w 2867025"/>
                <a:gd name="connsiteY22" fmla="*/ 0 h 2071688"/>
                <a:gd name="connsiteX23" fmla="*/ 1843087 w 2867025"/>
                <a:gd name="connsiteY23" fmla="*/ 38100 h 2071688"/>
                <a:gd name="connsiteX24" fmla="*/ 1733550 w 2867025"/>
                <a:gd name="connsiteY24" fmla="*/ 681038 h 2071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67025" h="2071688">
                  <a:moveTo>
                    <a:pt x="1733550" y="681038"/>
                  </a:moveTo>
                  <a:lnTo>
                    <a:pt x="2038350" y="514350"/>
                  </a:lnTo>
                  <a:lnTo>
                    <a:pt x="1881187" y="795338"/>
                  </a:lnTo>
                  <a:lnTo>
                    <a:pt x="2814637" y="633413"/>
                  </a:lnTo>
                  <a:lnTo>
                    <a:pt x="2867025" y="957263"/>
                  </a:lnTo>
                  <a:lnTo>
                    <a:pt x="2219325" y="1128713"/>
                  </a:lnTo>
                  <a:lnTo>
                    <a:pt x="2686050" y="1604963"/>
                  </a:lnTo>
                  <a:lnTo>
                    <a:pt x="2481262" y="1871663"/>
                  </a:lnTo>
                  <a:lnTo>
                    <a:pt x="2224087" y="2071688"/>
                  </a:lnTo>
                  <a:lnTo>
                    <a:pt x="1828800" y="1885950"/>
                  </a:lnTo>
                  <a:lnTo>
                    <a:pt x="1595437" y="1619250"/>
                  </a:lnTo>
                  <a:lnTo>
                    <a:pt x="1419225" y="1585913"/>
                  </a:lnTo>
                  <a:lnTo>
                    <a:pt x="1419225" y="1243013"/>
                  </a:lnTo>
                  <a:lnTo>
                    <a:pt x="1138237" y="1395413"/>
                  </a:lnTo>
                  <a:lnTo>
                    <a:pt x="476250" y="1600200"/>
                  </a:lnTo>
                  <a:lnTo>
                    <a:pt x="347662" y="1290638"/>
                  </a:lnTo>
                  <a:lnTo>
                    <a:pt x="0" y="957263"/>
                  </a:lnTo>
                  <a:lnTo>
                    <a:pt x="647700" y="714375"/>
                  </a:lnTo>
                  <a:lnTo>
                    <a:pt x="1304925" y="804863"/>
                  </a:lnTo>
                  <a:lnTo>
                    <a:pt x="685800" y="66675"/>
                  </a:lnTo>
                  <a:lnTo>
                    <a:pt x="1109662" y="147638"/>
                  </a:lnTo>
                  <a:lnTo>
                    <a:pt x="1338262" y="23813"/>
                  </a:lnTo>
                  <a:lnTo>
                    <a:pt x="1585912" y="0"/>
                  </a:lnTo>
                  <a:lnTo>
                    <a:pt x="1843087" y="38100"/>
                  </a:lnTo>
                  <a:lnTo>
                    <a:pt x="1733550" y="681038"/>
                  </a:lnTo>
                  <a:close/>
                </a:path>
              </a:pathLst>
            </a:custGeom>
            <a:noFill/>
            <a:ln w="57150">
              <a:solidFill>
                <a:srgbClr val="AAB414"/>
              </a:solidFill>
              <a:miter lim="800000"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6" name="Freihandform 5"/>
            <p:cNvSpPr/>
            <p:nvPr/>
          </p:nvSpPr>
          <p:spPr bwMode="auto">
            <a:xfrm>
              <a:off x="1255529" y="2966609"/>
              <a:ext cx="1911354" cy="1464732"/>
            </a:xfrm>
            <a:custGeom>
              <a:avLst/>
              <a:gdLst>
                <a:gd name="connsiteX0" fmla="*/ 1895475 w 1895475"/>
                <a:gd name="connsiteY0" fmla="*/ 371475 h 1452563"/>
                <a:gd name="connsiteX1" fmla="*/ 1600200 w 1895475"/>
                <a:gd name="connsiteY1" fmla="*/ 628650 h 1452563"/>
                <a:gd name="connsiteX2" fmla="*/ 1266825 w 1895475"/>
                <a:gd name="connsiteY2" fmla="*/ 714375 h 1452563"/>
                <a:gd name="connsiteX3" fmla="*/ 1519238 w 1895475"/>
                <a:gd name="connsiteY3" fmla="*/ 952500 h 1452563"/>
                <a:gd name="connsiteX4" fmla="*/ 1423988 w 1895475"/>
                <a:gd name="connsiteY4" fmla="*/ 1081088 h 1452563"/>
                <a:gd name="connsiteX5" fmla="*/ 1447800 w 1895475"/>
                <a:gd name="connsiteY5" fmla="*/ 1452563 h 1452563"/>
                <a:gd name="connsiteX6" fmla="*/ 1038225 w 1895475"/>
                <a:gd name="connsiteY6" fmla="*/ 942975 h 1452563"/>
                <a:gd name="connsiteX7" fmla="*/ 962025 w 1895475"/>
                <a:gd name="connsiteY7" fmla="*/ 952500 h 1452563"/>
                <a:gd name="connsiteX8" fmla="*/ 881063 w 1895475"/>
                <a:gd name="connsiteY8" fmla="*/ 942975 h 1452563"/>
                <a:gd name="connsiteX9" fmla="*/ 795338 w 1895475"/>
                <a:gd name="connsiteY9" fmla="*/ 904875 h 1452563"/>
                <a:gd name="connsiteX10" fmla="*/ 733425 w 1895475"/>
                <a:gd name="connsiteY10" fmla="*/ 866775 h 1452563"/>
                <a:gd name="connsiteX11" fmla="*/ 404813 w 1895475"/>
                <a:gd name="connsiteY11" fmla="*/ 938213 h 1452563"/>
                <a:gd name="connsiteX12" fmla="*/ 342900 w 1895475"/>
                <a:gd name="connsiteY12" fmla="*/ 785813 h 1452563"/>
                <a:gd name="connsiteX13" fmla="*/ 0 w 1895475"/>
                <a:gd name="connsiteY13" fmla="*/ 619125 h 1452563"/>
                <a:gd name="connsiteX14" fmla="*/ 347663 w 1895475"/>
                <a:gd name="connsiteY14" fmla="*/ 457200 h 1452563"/>
                <a:gd name="connsiteX15" fmla="*/ 681038 w 1895475"/>
                <a:gd name="connsiteY15" fmla="*/ 471488 h 1452563"/>
                <a:gd name="connsiteX16" fmla="*/ 514350 w 1895475"/>
                <a:gd name="connsiteY16" fmla="*/ 180975 h 1452563"/>
                <a:gd name="connsiteX17" fmla="*/ 790575 w 1895475"/>
                <a:gd name="connsiteY17" fmla="*/ 347663 h 1452563"/>
                <a:gd name="connsiteX18" fmla="*/ 800100 w 1895475"/>
                <a:gd name="connsiteY18" fmla="*/ 0 h 1452563"/>
                <a:gd name="connsiteX19" fmla="*/ 966788 w 1895475"/>
                <a:gd name="connsiteY19" fmla="*/ 314325 h 1452563"/>
                <a:gd name="connsiteX20" fmla="*/ 1042988 w 1895475"/>
                <a:gd name="connsiteY20" fmla="*/ 328613 h 1452563"/>
                <a:gd name="connsiteX21" fmla="*/ 1119188 w 1895475"/>
                <a:gd name="connsiteY21" fmla="*/ 361950 h 1452563"/>
                <a:gd name="connsiteX22" fmla="*/ 1185863 w 1895475"/>
                <a:gd name="connsiteY22" fmla="*/ 404813 h 1452563"/>
                <a:gd name="connsiteX23" fmla="*/ 1252538 w 1895475"/>
                <a:gd name="connsiteY23" fmla="*/ 476250 h 1452563"/>
                <a:gd name="connsiteX24" fmla="*/ 1895475 w 1895475"/>
                <a:gd name="connsiteY24" fmla="*/ 371475 h 1452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895475" h="1452563">
                  <a:moveTo>
                    <a:pt x="1895475" y="371475"/>
                  </a:moveTo>
                  <a:lnTo>
                    <a:pt x="1600200" y="628650"/>
                  </a:lnTo>
                  <a:lnTo>
                    <a:pt x="1266825" y="714375"/>
                  </a:lnTo>
                  <a:lnTo>
                    <a:pt x="1519238" y="952500"/>
                  </a:lnTo>
                  <a:lnTo>
                    <a:pt x="1423988" y="1081088"/>
                  </a:lnTo>
                  <a:lnTo>
                    <a:pt x="1447800" y="1452563"/>
                  </a:lnTo>
                  <a:lnTo>
                    <a:pt x="1038225" y="942975"/>
                  </a:lnTo>
                  <a:lnTo>
                    <a:pt x="962025" y="952500"/>
                  </a:lnTo>
                  <a:lnTo>
                    <a:pt x="881063" y="942975"/>
                  </a:lnTo>
                  <a:lnTo>
                    <a:pt x="795338" y="904875"/>
                  </a:lnTo>
                  <a:lnTo>
                    <a:pt x="733425" y="866775"/>
                  </a:lnTo>
                  <a:lnTo>
                    <a:pt x="404813" y="938213"/>
                  </a:lnTo>
                  <a:lnTo>
                    <a:pt x="342900" y="785813"/>
                  </a:lnTo>
                  <a:lnTo>
                    <a:pt x="0" y="619125"/>
                  </a:lnTo>
                  <a:lnTo>
                    <a:pt x="347663" y="457200"/>
                  </a:lnTo>
                  <a:lnTo>
                    <a:pt x="681038" y="471488"/>
                  </a:lnTo>
                  <a:lnTo>
                    <a:pt x="514350" y="180975"/>
                  </a:lnTo>
                  <a:lnTo>
                    <a:pt x="790575" y="347663"/>
                  </a:lnTo>
                  <a:lnTo>
                    <a:pt x="800100" y="0"/>
                  </a:lnTo>
                  <a:lnTo>
                    <a:pt x="966788" y="314325"/>
                  </a:lnTo>
                  <a:lnTo>
                    <a:pt x="1042988" y="328613"/>
                  </a:lnTo>
                  <a:lnTo>
                    <a:pt x="1119188" y="361950"/>
                  </a:lnTo>
                  <a:lnTo>
                    <a:pt x="1185863" y="404813"/>
                  </a:lnTo>
                  <a:lnTo>
                    <a:pt x="1252538" y="476250"/>
                  </a:lnTo>
                  <a:lnTo>
                    <a:pt x="1895475" y="371475"/>
                  </a:lnTo>
                  <a:close/>
                </a:path>
              </a:pathLst>
            </a:custGeom>
            <a:noFill/>
            <a:ln w="57150">
              <a:solidFill>
                <a:srgbClr val="AF235F"/>
              </a:solidFill>
              <a:miter lim="800000"/>
            </a:ln>
            <a:effectLst/>
            <a:extLst/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endParaRPr lang="en-US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31" name="Gerade Verbindung 30"/>
          <p:cNvCxnSpPr/>
          <p:nvPr/>
        </p:nvCxnSpPr>
        <p:spPr bwMode="auto">
          <a:xfrm>
            <a:off x="627063" y="5877272"/>
            <a:ext cx="34560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AAAA9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ctangle 116"/>
          <p:cNvSpPr txBox="1">
            <a:spLocks noChangeArrowheads="1"/>
          </p:cNvSpPr>
          <p:nvPr/>
        </p:nvSpPr>
        <p:spPr bwMode="gray">
          <a:xfrm>
            <a:off x="986715" y="5877272"/>
            <a:ext cx="26561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tabLst>
                <a:tab pos="179388" algn="l"/>
              </a:tabLst>
              <a:defRPr sz="900">
                <a:solidFill>
                  <a:srgbClr val="505A64"/>
                </a:solidFill>
                <a:ea typeface="+mn-ea"/>
                <a:cs typeface="Arial" pitchFamily="34" charset="0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CA" sz="1100" dirty="0" smtClean="0"/>
              <a:t>État actuel</a:t>
            </a:r>
            <a:endParaRPr lang="en-US" sz="1100" dirty="0" smtClean="0"/>
          </a:p>
        </p:txBody>
      </p:sp>
      <p:sp>
        <p:nvSpPr>
          <p:cNvPr id="35" name="Rectangle 116"/>
          <p:cNvSpPr txBox="1">
            <a:spLocks noChangeArrowheads="1"/>
          </p:cNvSpPr>
          <p:nvPr/>
        </p:nvSpPr>
        <p:spPr bwMode="gray">
          <a:xfrm>
            <a:off x="2282247" y="5877272"/>
            <a:ext cx="26561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tabLst>
                <a:tab pos="179388" algn="l"/>
              </a:tabLst>
              <a:defRPr sz="900">
                <a:solidFill>
                  <a:srgbClr val="505A64"/>
                </a:solidFill>
                <a:ea typeface="+mn-ea"/>
                <a:cs typeface="Arial" pitchFamily="34" charset="0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fr-CA" sz="1100" dirty="0" smtClean="0"/>
              <a:t>Cible future</a:t>
            </a:r>
            <a:endParaRPr lang="en-US" sz="1100" dirty="0" smtClean="0"/>
          </a:p>
        </p:txBody>
      </p:sp>
      <p:cxnSp>
        <p:nvCxnSpPr>
          <p:cNvPr id="37" name="Gerade Verbindung 36"/>
          <p:cNvCxnSpPr/>
          <p:nvPr/>
        </p:nvCxnSpPr>
        <p:spPr bwMode="auto">
          <a:xfrm>
            <a:off x="626415" y="6021272"/>
            <a:ext cx="288648" cy="0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rgbClr val="AF235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 Verbindung 37"/>
          <p:cNvCxnSpPr/>
          <p:nvPr/>
        </p:nvCxnSpPr>
        <p:spPr bwMode="auto">
          <a:xfrm>
            <a:off x="1922595" y="6021272"/>
            <a:ext cx="288648" cy="0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rgbClr val="AAB414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Rechteck 41"/>
          <p:cNvSpPr/>
          <p:nvPr/>
        </p:nvSpPr>
        <p:spPr>
          <a:xfrm>
            <a:off x="5522955" y="1695101"/>
            <a:ext cx="6769080" cy="115108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fr-CA" sz="2400" b="1" kern="0" dirty="0" smtClean="0">
                <a:solidFill>
                  <a:srgbClr val="2882A0"/>
                </a:solidFill>
                <a:latin typeface="+mj-lt"/>
              </a:rPr>
              <a:t>Les compétences de haut niveau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fr-CA" sz="2400" b="1" kern="0" dirty="0" smtClean="0">
                <a:solidFill>
                  <a:srgbClr val="2882A0"/>
                </a:solidFill>
                <a:latin typeface="+mj-lt"/>
              </a:rPr>
              <a:t>affectées par le concept Industrie 4.0 </a:t>
            </a:r>
            <a:endParaRPr lang="en-US" sz="2400" b="1" kern="0" dirty="0" smtClean="0">
              <a:solidFill>
                <a:srgbClr val="2882A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400" b="1" kern="0" dirty="0">
              <a:solidFill>
                <a:srgbClr val="2882A0"/>
              </a:solidFill>
              <a:latin typeface="+mj-lt"/>
            </a:endParaRPr>
          </a:p>
        </p:txBody>
      </p:sp>
      <p:sp>
        <p:nvSpPr>
          <p:cNvPr id="40" name="Textplatzhalter 7"/>
          <p:cNvSpPr txBox="1">
            <a:spLocks/>
          </p:cNvSpPr>
          <p:nvPr/>
        </p:nvSpPr>
        <p:spPr bwMode="auto">
          <a:xfrm>
            <a:off x="5477313" y="2487211"/>
            <a:ext cx="6526682" cy="3174099"/>
          </a:xfrm>
          <a:prstGeom prst="rect">
            <a:avLst/>
          </a:pr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87942" tIns="144000" rIns="215957" bIns="216000" anchor="t">
            <a:no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charset="0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CA" altLang="de-DE" sz="2400" b="1" dirty="0" smtClean="0">
                <a:solidFill>
                  <a:srgbClr val="FFFFFF"/>
                </a:solidFill>
                <a:latin typeface="Arial"/>
              </a:rPr>
              <a:t>Technologies de l’information </a:t>
            </a:r>
            <a:endParaRPr lang="en-US" altLang="de-DE" sz="2400" b="1" dirty="0" smtClean="0">
              <a:solidFill>
                <a:srgbClr val="FFFFFF"/>
              </a:solidFill>
              <a:latin typeface="Arial"/>
            </a:endParaRPr>
          </a:p>
          <a:p>
            <a:r>
              <a:rPr lang="fr-CA" altLang="de-DE" sz="2400" b="1" dirty="0" smtClean="0">
                <a:solidFill>
                  <a:srgbClr val="FFFFFF"/>
                </a:solidFill>
                <a:latin typeface="Arial"/>
              </a:rPr>
              <a:t>Génie mécanique</a:t>
            </a:r>
            <a:endParaRPr lang="en-US" altLang="de-DE" sz="2400" b="1" dirty="0" smtClean="0">
              <a:solidFill>
                <a:srgbClr val="FFFFFF"/>
              </a:solidFill>
              <a:latin typeface="Arial"/>
            </a:endParaRPr>
          </a:p>
          <a:p>
            <a:r>
              <a:rPr lang="fr-CA" altLang="de-DE" sz="2400" b="1" dirty="0" smtClean="0">
                <a:solidFill>
                  <a:srgbClr val="FFFFFF"/>
                </a:solidFill>
                <a:latin typeface="Arial"/>
              </a:rPr>
              <a:t>Électronique/mécatronique</a:t>
            </a:r>
            <a:endParaRPr lang="en-US" altLang="de-DE" sz="2400" b="1" dirty="0" smtClean="0">
              <a:solidFill>
                <a:srgbClr val="FFFFFF"/>
              </a:solidFill>
              <a:latin typeface="Arial"/>
            </a:endParaRPr>
          </a:p>
          <a:p>
            <a:r>
              <a:rPr lang="fr-CA" altLang="de-DE" sz="2400" b="1" dirty="0" smtClean="0">
                <a:solidFill>
                  <a:srgbClr val="FFFFFF"/>
                </a:solidFill>
                <a:latin typeface="Arial"/>
              </a:rPr>
              <a:t>Administration des affaires</a:t>
            </a:r>
            <a:endParaRPr lang="en-US" altLang="de-DE" sz="2400" b="1" dirty="0" smtClean="0">
              <a:solidFill>
                <a:srgbClr val="FFFFFF"/>
              </a:solidFill>
              <a:latin typeface="Arial"/>
            </a:endParaRPr>
          </a:p>
          <a:p>
            <a:r>
              <a:rPr lang="fr-CA" altLang="de-DE" sz="2400" b="1" dirty="0" smtClean="0">
                <a:solidFill>
                  <a:srgbClr val="FFFFFF"/>
                </a:solidFill>
                <a:latin typeface="Arial"/>
              </a:rPr>
              <a:t>Compétences générales</a:t>
            </a:r>
            <a:endParaRPr lang="en-US" altLang="de-DE" sz="2400" b="1" dirty="0" smtClean="0">
              <a:solidFill>
                <a:srgbClr val="FFFFFF"/>
              </a:solidFill>
              <a:latin typeface="Arial"/>
            </a:endParaRP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</a:pPr>
            <a:endParaRPr lang="en-US" altLang="de-DE" sz="2400" b="1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00333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4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4370983" y="1413380"/>
            <a:ext cx="3600000" cy="475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44000" tIns="144000" rIns="144000" bIns="144000" numCol="1" spcCol="7200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</a:pPr>
            <a:r>
              <a:rPr lang="fr-CA" sz="2800" b="1" dirty="0" smtClean="0">
                <a:solidFill>
                  <a:srgbClr val="2882A0"/>
                </a:solidFill>
                <a:latin typeface="+mj-lt"/>
              </a:rPr>
              <a:t>Décloisonnement des groupes de travail</a:t>
            </a:r>
            <a:endParaRPr lang="en-US" sz="2800" b="1" dirty="0" smtClean="0">
              <a:solidFill>
                <a:srgbClr val="2882A0"/>
              </a:solidFill>
              <a:latin typeface="+mj-lt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</a:pPr>
            <a:endParaRPr lang="en-US" sz="3200" b="1" dirty="0">
              <a:solidFill>
                <a:srgbClr val="2882A0"/>
              </a:solidFill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r>
              <a:rPr lang="fr-CA" dirty="0" smtClean="0"/>
              <a:t>Repenser les méthodes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626967" y="1410174"/>
            <a:ext cx="3600000" cy="475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44000" tIns="144000" rIns="144000" bIns="144000" numCol="1" spcCol="7200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</a:pPr>
            <a:r>
              <a:rPr lang="fr-CA" sz="2800" b="1" dirty="0" smtClean="0">
                <a:solidFill>
                  <a:srgbClr val="2882A0"/>
                </a:solidFill>
                <a:latin typeface="+mj-lt"/>
              </a:rPr>
              <a:t>Développement des compétences </a:t>
            </a:r>
            <a:endParaRPr lang="en-US" sz="2800" b="1" dirty="0" smtClean="0">
              <a:solidFill>
                <a:srgbClr val="2882A0"/>
              </a:solidFill>
              <a:latin typeface="+mj-lt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</a:pPr>
            <a:endParaRPr lang="en-US" sz="3200" b="1" dirty="0">
              <a:solidFill>
                <a:srgbClr val="2882A0"/>
              </a:solidFill>
              <a:latin typeface="+mj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8115798" y="1413380"/>
            <a:ext cx="3888197" cy="4752000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44000" tIns="144000" rIns="144000" bIns="144000" numCol="1" spcCol="7200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</a:pPr>
            <a:r>
              <a:rPr lang="fr-CA" sz="2800" b="1" dirty="0" smtClean="0">
                <a:solidFill>
                  <a:srgbClr val="2882A0"/>
                </a:solidFill>
                <a:latin typeface="+mj-lt"/>
              </a:rPr>
              <a:t>Expérimentation:     le droit à l’erreur </a:t>
            </a:r>
            <a:endParaRPr lang="en-US" sz="2800" b="1" dirty="0" smtClean="0">
              <a:solidFill>
                <a:srgbClr val="2882A0"/>
              </a:solidFill>
              <a:latin typeface="+mj-lt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3200" b="1" dirty="0" smtClean="0">
                <a:solidFill>
                  <a:srgbClr val="2882A0"/>
                </a:solidFill>
                <a:latin typeface="+mj-lt"/>
              </a:rPr>
              <a:t> </a:t>
            </a:r>
            <a:endParaRPr lang="en-US" sz="3200" b="1" dirty="0">
              <a:solidFill>
                <a:srgbClr val="2882A0"/>
              </a:solidFill>
              <a:latin typeface="+mj-lt"/>
            </a:endParaRPr>
          </a:p>
        </p:txBody>
      </p:sp>
      <p:sp>
        <p:nvSpPr>
          <p:cNvPr id="148" name="Freeform 77"/>
          <p:cNvSpPr>
            <a:spLocks/>
          </p:cNvSpPr>
          <p:nvPr/>
        </p:nvSpPr>
        <p:spPr bwMode="auto">
          <a:xfrm>
            <a:off x="1826397" y="4890638"/>
            <a:ext cx="1201333" cy="1274666"/>
          </a:xfrm>
          <a:custGeom>
            <a:avLst/>
            <a:gdLst>
              <a:gd name="T0" fmla="*/ 163 w 327"/>
              <a:gd name="T1" fmla="*/ 0 h 347"/>
              <a:gd name="T2" fmla="*/ 223 w 327"/>
              <a:gd name="T3" fmla="*/ 36 h 347"/>
              <a:gd name="T4" fmla="*/ 219 w 327"/>
              <a:gd name="T5" fmla="*/ 123 h 347"/>
              <a:gd name="T6" fmla="*/ 198 w 327"/>
              <a:gd name="T7" fmla="*/ 189 h 347"/>
              <a:gd name="T8" fmla="*/ 316 w 327"/>
              <a:gd name="T9" fmla="*/ 253 h 347"/>
              <a:gd name="T10" fmla="*/ 322 w 327"/>
              <a:gd name="T11" fmla="*/ 347 h 347"/>
              <a:gd name="T12" fmla="*/ 4 w 327"/>
              <a:gd name="T13" fmla="*/ 347 h 347"/>
              <a:gd name="T14" fmla="*/ 11 w 327"/>
              <a:gd name="T15" fmla="*/ 253 h 347"/>
              <a:gd name="T16" fmla="*/ 129 w 327"/>
              <a:gd name="T17" fmla="*/ 189 h 347"/>
              <a:gd name="T18" fmla="*/ 108 w 327"/>
              <a:gd name="T19" fmla="*/ 123 h 347"/>
              <a:gd name="T20" fmla="*/ 104 w 327"/>
              <a:gd name="T21" fmla="*/ 36 h 347"/>
              <a:gd name="T22" fmla="*/ 163 w 327"/>
              <a:gd name="T23" fmla="*/ 0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7" h="347">
                <a:moveTo>
                  <a:pt x="163" y="0"/>
                </a:moveTo>
                <a:cubicBezTo>
                  <a:pt x="190" y="0"/>
                  <a:pt x="209" y="13"/>
                  <a:pt x="223" y="36"/>
                </a:cubicBezTo>
                <a:cubicBezTo>
                  <a:pt x="236" y="59"/>
                  <a:pt x="231" y="94"/>
                  <a:pt x="219" y="123"/>
                </a:cubicBezTo>
                <a:cubicBezTo>
                  <a:pt x="208" y="153"/>
                  <a:pt x="196" y="169"/>
                  <a:pt x="198" y="189"/>
                </a:cubicBezTo>
                <a:cubicBezTo>
                  <a:pt x="200" y="209"/>
                  <a:pt x="304" y="242"/>
                  <a:pt x="316" y="253"/>
                </a:cubicBezTo>
                <a:cubicBezTo>
                  <a:pt x="327" y="265"/>
                  <a:pt x="322" y="347"/>
                  <a:pt x="322" y="347"/>
                </a:cubicBezTo>
                <a:cubicBezTo>
                  <a:pt x="4" y="347"/>
                  <a:pt x="4" y="347"/>
                  <a:pt x="4" y="347"/>
                </a:cubicBezTo>
                <a:cubicBezTo>
                  <a:pt x="4" y="347"/>
                  <a:pt x="0" y="265"/>
                  <a:pt x="11" y="253"/>
                </a:cubicBezTo>
                <a:cubicBezTo>
                  <a:pt x="22" y="242"/>
                  <a:pt x="127" y="209"/>
                  <a:pt x="129" y="189"/>
                </a:cubicBezTo>
                <a:cubicBezTo>
                  <a:pt x="130" y="169"/>
                  <a:pt x="119" y="153"/>
                  <a:pt x="108" y="123"/>
                </a:cubicBezTo>
                <a:cubicBezTo>
                  <a:pt x="96" y="94"/>
                  <a:pt x="91" y="59"/>
                  <a:pt x="104" y="36"/>
                </a:cubicBezTo>
                <a:cubicBezTo>
                  <a:pt x="117" y="13"/>
                  <a:pt x="136" y="0"/>
                  <a:pt x="163" y="0"/>
                </a:cubicBezTo>
                <a:close/>
              </a:path>
            </a:pathLst>
          </a:cu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287942" tIns="144000" rIns="215957" bIns="216000" anchor="ctr">
            <a:no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  <a:buFont typeface="Arial" charset="0"/>
            </a:pPr>
            <a:endParaRPr lang="en-US" altLang="de-DE" sz="28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50" name="Freeform 5"/>
          <p:cNvSpPr>
            <a:spLocks/>
          </p:cNvSpPr>
          <p:nvPr/>
        </p:nvSpPr>
        <p:spPr bwMode="auto">
          <a:xfrm>
            <a:off x="5570317" y="4890637"/>
            <a:ext cx="1201333" cy="1274667"/>
          </a:xfrm>
          <a:custGeom>
            <a:avLst/>
            <a:gdLst>
              <a:gd name="T0" fmla="*/ 223 w 327"/>
              <a:gd name="T1" fmla="*/ 36 h 347"/>
              <a:gd name="T2" fmla="*/ 219 w 327"/>
              <a:gd name="T3" fmla="*/ 123 h 347"/>
              <a:gd name="T4" fmla="*/ 198 w 327"/>
              <a:gd name="T5" fmla="*/ 189 h 347"/>
              <a:gd name="T6" fmla="*/ 316 w 327"/>
              <a:gd name="T7" fmla="*/ 253 h 347"/>
              <a:gd name="T8" fmla="*/ 323 w 327"/>
              <a:gd name="T9" fmla="*/ 347 h 347"/>
              <a:gd name="T10" fmla="*/ 5 w 327"/>
              <a:gd name="T11" fmla="*/ 347 h 347"/>
              <a:gd name="T12" fmla="*/ 11 w 327"/>
              <a:gd name="T13" fmla="*/ 253 h 347"/>
              <a:gd name="T14" fmla="*/ 129 w 327"/>
              <a:gd name="T15" fmla="*/ 189 h 347"/>
              <a:gd name="T16" fmla="*/ 108 w 327"/>
              <a:gd name="T17" fmla="*/ 123 h 347"/>
              <a:gd name="T18" fmla="*/ 104 w 327"/>
              <a:gd name="T19" fmla="*/ 36 h 347"/>
              <a:gd name="T20" fmla="*/ 164 w 327"/>
              <a:gd name="T21" fmla="*/ 0 h 347"/>
              <a:gd name="T22" fmla="*/ 223 w 327"/>
              <a:gd name="T23" fmla="*/ 36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7" h="347">
                <a:moveTo>
                  <a:pt x="223" y="36"/>
                </a:moveTo>
                <a:cubicBezTo>
                  <a:pt x="236" y="59"/>
                  <a:pt x="231" y="94"/>
                  <a:pt x="219" y="123"/>
                </a:cubicBezTo>
                <a:cubicBezTo>
                  <a:pt x="208" y="153"/>
                  <a:pt x="197" y="170"/>
                  <a:pt x="198" y="189"/>
                </a:cubicBezTo>
                <a:cubicBezTo>
                  <a:pt x="200" y="209"/>
                  <a:pt x="305" y="242"/>
                  <a:pt x="316" y="253"/>
                </a:cubicBezTo>
                <a:cubicBezTo>
                  <a:pt x="327" y="265"/>
                  <a:pt x="323" y="347"/>
                  <a:pt x="323" y="347"/>
                </a:cubicBezTo>
                <a:cubicBezTo>
                  <a:pt x="5" y="347"/>
                  <a:pt x="5" y="347"/>
                  <a:pt x="5" y="347"/>
                </a:cubicBezTo>
                <a:cubicBezTo>
                  <a:pt x="5" y="347"/>
                  <a:pt x="0" y="265"/>
                  <a:pt x="11" y="253"/>
                </a:cubicBezTo>
                <a:cubicBezTo>
                  <a:pt x="23" y="242"/>
                  <a:pt x="127" y="209"/>
                  <a:pt x="129" y="189"/>
                </a:cubicBezTo>
                <a:cubicBezTo>
                  <a:pt x="131" y="170"/>
                  <a:pt x="119" y="153"/>
                  <a:pt x="108" y="123"/>
                </a:cubicBezTo>
                <a:cubicBezTo>
                  <a:pt x="96" y="94"/>
                  <a:pt x="91" y="59"/>
                  <a:pt x="104" y="36"/>
                </a:cubicBezTo>
                <a:cubicBezTo>
                  <a:pt x="118" y="13"/>
                  <a:pt x="137" y="0"/>
                  <a:pt x="164" y="0"/>
                </a:cubicBezTo>
                <a:cubicBezTo>
                  <a:pt x="191" y="0"/>
                  <a:pt x="210" y="13"/>
                  <a:pt x="223" y="36"/>
                </a:cubicBezTo>
                <a:close/>
              </a:path>
            </a:pathLst>
          </a:cu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287942" tIns="144000" rIns="215957" bIns="216000" anchor="ctr">
            <a:no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  <a:buFont typeface="Arial" charset="0"/>
            </a:pPr>
            <a:endParaRPr lang="en-US" altLang="de-DE" sz="28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51" name="Freeform 69"/>
          <p:cNvSpPr>
            <a:spLocks/>
          </p:cNvSpPr>
          <p:nvPr/>
        </p:nvSpPr>
        <p:spPr bwMode="auto">
          <a:xfrm>
            <a:off x="9314132" y="4891971"/>
            <a:ext cx="1203334" cy="1273333"/>
          </a:xfrm>
          <a:custGeom>
            <a:avLst/>
            <a:gdLst>
              <a:gd name="T0" fmla="*/ 223 w 328"/>
              <a:gd name="T1" fmla="*/ 36 h 347"/>
              <a:gd name="T2" fmla="*/ 220 w 328"/>
              <a:gd name="T3" fmla="*/ 123 h 347"/>
              <a:gd name="T4" fmla="*/ 199 w 328"/>
              <a:gd name="T5" fmla="*/ 189 h 347"/>
              <a:gd name="T6" fmla="*/ 317 w 328"/>
              <a:gd name="T7" fmla="*/ 253 h 347"/>
              <a:gd name="T8" fmla="*/ 323 w 328"/>
              <a:gd name="T9" fmla="*/ 347 h 347"/>
              <a:gd name="T10" fmla="*/ 5 w 328"/>
              <a:gd name="T11" fmla="*/ 347 h 347"/>
              <a:gd name="T12" fmla="*/ 12 w 328"/>
              <a:gd name="T13" fmla="*/ 253 h 347"/>
              <a:gd name="T14" fmla="*/ 129 w 328"/>
              <a:gd name="T15" fmla="*/ 189 h 347"/>
              <a:gd name="T16" fmla="*/ 108 w 328"/>
              <a:gd name="T17" fmla="*/ 123 h 347"/>
              <a:gd name="T18" fmla="*/ 105 w 328"/>
              <a:gd name="T19" fmla="*/ 36 h 347"/>
              <a:gd name="T20" fmla="*/ 164 w 328"/>
              <a:gd name="T21" fmla="*/ 0 h 347"/>
              <a:gd name="T22" fmla="*/ 223 w 328"/>
              <a:gd name="T23" fmla="*/ 36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8" h="347">
                <a:moveTo>
                  <a:pt x="223" y="36"/>
                </a:moveTo>
                <a:cubicBezTo>
                  <a:pt x="236" y="59"/>
                  <a:pt x="231" y="93"/>
                  <a:pt x="220" y="123"/>
                </a:cubicBezTo>
                <a:cubicBezTo>
                  <a:pt x="209" y="153"/>
                  <a:pt x="197" y="169"/>
                  <a:pt x="199" y="189"/>
                </a:cubicBezTo>
                <a:cubicBezTo>
                  <a:pt x="200" y="208"/>
                  <a:pt x="305" y="241"/>
                  <a:pt x="317" y="253"/>
                </a:cubicBezTo>
                <a:cubicBezTo>
                  <a:pt x="328" y="265"/>
                  <a:pt x="323" y="347"/>
                  <a:pt x="323" y="347"/>
                </a:cubicBezTo>
                <a:cubicBezTo>
                  <a:pt x="5" y="347"/>
                  <a:pt x="5" y="347"/>
                  <a:pt x="5" y="347"/>
                </a:cubicBezTo>
                <a:cubicBezTo>
                  <a:pt x="5" y="347"/>
                  <a:pt x="0" y="265"/>
                  <a:pt x="12" y="253"/>
                </a:cubicBezTo>
                <a:cubicBezTo>
                  <a:pt x="23" y="241"/>
                  <a:pt x="128" y="208"/>
                  <a:pt x="129" y="189"/>
                </a:cubicBezTo>
                <a:cubicBezTo>
                  <a:pt x="131" y="169"/>
                  <a:pt x="120" y="153"/>
                  <a:pt x="108" y="123"/>
                </a:cubicBezTo>
                <a:cubicBezTo>
                  <a:pt x="97" y="93"/>
                  <a:pt x="92" y="59"/>
                  <a:pt x="105" y="36"/>
                </a:cubicBezTo>
                <a:cubicBezTo>
                  <a:pt x="118" y="13"/>
                  <a:pt x="137" y="0"/>
                  <a:pt x="164" y="0"/>
                </a:cubicBezTo>
                <a:cubicBezTo>
                  <a:pt x="191" y="0"/>
                  <a:pt x="210" y="13"/>
                  <a:pt x="223" y="36"/>
                </a:cubicBezTo>
                <a:close/>
              </a:path>
            </a:pathLst>
          </a:custGeom>
          <a:gradFill rotWithShape="0">
            <a:gsLst>
              <a:gs pos="0">
                <a:srgbClr val="50BEBE"/>
              </a:gs>
              <a:gs pos="50000">
                <a:srgbClr val="009999"/>
              </a:gs>
              <a:gs pos="83000">
                <a:srgbClr val="0099B0"/>
              </a:gs>
              <a:gs pos="100000">
                <a:srgbClr val="0099CB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287942" tIns="144000" rIns="215957" bIns="216000" anchor="ctr">
            <a:no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  <a:buClr>
                <a:srgbClr val="879BAA"/>
              </a:buClr>
              <a:buFont typeface="Arial" charset="0"/>
            </a:pPr>
            <a:endParaRPr lang="en-US" altLang="de-DE" sz="2800" b="1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grpSp>
        <p:nvGrpSpPr>
          <p:cNvPr id="267" name="Gruppieren 266"/>
          <p:cNvGrpSpPr/>
          <p:nvPr/>
        </p:nvGrpSpPr>
        <p:grpSpPr>
          <a:xfrm>
            <a:off x="5667127" y="3052293"/>
            <a:ext cx="2160000" cy="1888917"/>
            <a:chOff x="5667127" y="2828371"/>
            <a:chExt cx="2160000" cy="1888917"/>
          </a:xfrm>
        </p:grpSpPr>
        <p:grpSp>
          <p:nvGrpSpPr>
            <p:cNvPr id="261" name="Gruppieren 260"/>
            <p:cNvGrpSpPr>
              <a:grpSpLocks noChangeAspect="1"/>
            </p:cNvGrpSpPr>
            <p:nvPr/>
          </p:nvGrpSpPr>
          <p:grpSpPr>
            <a:xfrm>
              <a:off x="5667127" y="2828371"/>
              <a:ext cx="2160000" cy="1608741"/>
              <a:chOff x="6017496" y="3162904"/>
              <a:chExt cx="1726667" cy="1286000"/>
            </a:xfrm>
          </p:grpSpPr>
          <p:sp>
            <p:nvSpPr>
              <p:cNvPr id="262" name="Freeform 25"/>
              <p:cNvSpPr>
                <a:spLocks/>
              </p:cNvSpPr>
              <p:nvPr/>
            </p:nvSpPr>
            <p:spPr bwMode="auto">
              <a:xfrm>
                <a:off x="6017496" y="3162904"/>
                <a:ext cx="1726667" cy="1286000"/>
              </a:xfrm>
              <a:custGeom>
                <a:avLst/>
                <a:gdLst>
                  <a:gd name="T0" fmla="*/ 0 w 2590"/>
                  <a:gd name="T1" fmla="*/ 0 h 1929"/>
                  <a:gd name="T2" fmla="*/ 0 w 2590"/>
                  <a:gd name="T3" fmla="*/ 1929 h 1929"/>
                  <a:gd name="T4" fmla="*/ 2590 w 2590"/>
                  <a:gd name="T5" fmla="*/ 1929 h 1929"/>
                  <a:gd name="T6" fmla="*/ 2590 w 2590"/>
                  <a:gd name="T7" fmla="*/ 0 h 1929"/>
                  <a:gd name="T8" fmla="*/ 0 w 2590"/>
                  <a:gd name="T9" fmla="*/ 0 h 1929"/>
                  <a:gd name="T10" fmla="*/ 0 w 2590"/>
                  <a:gd name="T11" fmla="*/ 0 h 1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90" h="1929">
                    <a:moveTo>
                      <a:pt x="0" y="0"/>
                    </a:moveTo>
                    <a:lnTo>
                      <a:pt x="0" y="1929"/>
                    </a:lnTo>
                    <a:lnTo>
                      <a:pt x="2590" y="1929"/>
                    </a:lnTo>
                    <a:lnTo>
                      <a:pt x="259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3" name="Freeform 26"/>
              <p:cNvSpPr>
                <a:spLocks noEditPoints="1"/>
              </p:cNvSpPr>
              <p:nvPr/>
            </p:nvSpPr>
            <p:spPr bwMode="auto">
              <a:xfrm>
                <a:off x="6175497" y="3363914"/>
                <a:ext cx="1410667" cy="892667"/>
              </a:xfrm>
              <a:custGeom>
                <a:avLst/>
                <a:gdLst>
                  <a:gd name="T0" fmla="*/ 64 w 384"/>
                  <a:gd name="T1" fmla="*/ 243 h 243"/>
                  <a:gd name="T2" fmla="*/ 0 w 384"/>
                  <a:gd name="T3" fmla="*/ 179 h 243"/>
                  <a:gd name="T4" fmla="*/ 58 w 384"/>
                  <a:gd name="T5" fmla="*/ 96 h 243"/>
                  <a:gd name="T6" fmla="*/ 156 w 384"/>
                  <a:gd name="T7" fmla="*/ 42 h 243"/>
                  <a:gd name="T8" fmla="*/ 300 w 384"/>
                  <a:gd name="T9" fmla="*/ 77 h 243"/>
                  <a:gd name="T10" fmla="*/ 300 w 384"/>
                  <a:gd name="T11" fmla="*/ 243 h 243"/>
                  <a:gd name="T12" fmla="*/ 297 w 384"/>
                  <a:gd name="T13" fmla="*/ 104 h 243"/>
                  <a:gd name="T14" fmla="*/ 258 w 384"/>
                  <a:gd name="T15" fmla="*/ 49 h 243"/>
                  <a:gd name="T16" fmla="*/ 225 w 384"/>
                  <a:gd name="T17" fmla="*/ 49 h 243"/>
                  <a:gd name="T18" fmla="*/ 132 w 384"/>
                  <a:gd name="T19" fmla="*/ 78 h 243"/>
                  <a:gd name="T20" fmla="*/ 101 w 384"/>
                  <a:gd name="T21" fmla="*/ 85 h 243"/>
                  <a:gd name="T22" fmla="*/ 56 w 384"/>
                  <a:gd name="T23" fmla="*/ 150 h 243"/>
                  <a:gd name="T24" fmla="*/ 32 w 384"/>
                  <a:gd name="T25" fmla="*/ 164 h 243"/>
                  <a:gd name="T26" fmla="*/ 60 w 384"/>
                  <a:gd name="T27" fmla="*/ 175 h 243"/>
                  <a:gd name="T28" fmla="*/ 106 w 384"/>
                  <a:gd name="T29" fmla="*/ 208 h 243"/>
                  <a:gd name="T30" fmla="*/ 139 w 384"/>
                  <a:gd name="T31" fmla="*/ 210 h 243"/>
                  <a:gd name="T32" fmla="*/ 241 w 384"/>
                  <a:gd name="T33" fmla="*/ 213 h 243"/>
                  <a:gd name="T34" fmla="*/ 254 w 384"/>
                  <a:gd name="T35" fmla="*/ 186 h 243"/>
                  <a:gd name="T36" fmla="*/ 305 w 384"/>
                  <a:gd name="T37" fmla="*/ 135 h 243"/>
                  <a:gd name="T38" fmla="*/ 305 w 384"/>
                  <a:gd name="T39" fmla="*/ 102 h 243"/>
                  <a:gd name="T40" fmla="*/ 109 w 384"/>
                  <a:gd name="T41" fmla="*/ 100 h 243"/>
                  <a:gd name="T42" fmla="*/ 116 w 384"/>
                  <a:gd name="T43" fmla="*/ 141 h 243"/>
                  <a:gd name="T44" fmla="*/ 61 w 384"/>
                  <a:gd name="T45" fmla="*/ 154 h 243"/>
                  <a:gd name="T46" fmla="*/ 130 w 384"/>
                  <a:gd name="T47" fmla="*/ 95 h 243"/>
                  <a:gd name="T48" fmla="*/ 180 w 384"/>
                  <a:gd name="T49" fmla="*/ 122 h 243"/>
                  <a:gd name="T50" fmla="*/ 123 w 384"/>
                  <a:gd name="T51" fmla="*/ 139 h 243"/>
                  <a:gd name="T52" fmla="*/ 289 w 384"/>
                  <a:gd name="T53" fmla="*/ 123 h 243"/>
                  <a:gd name="T54" fmla="*/ 245 w 384"/>
                  <a:gd name="T55" fmla="*/ 65 h 243"/>
                  <a:gd name="T56" fmla="*/ 292 w 384"/>
                  <a:gd name="T57" fmla="*/ 109 h 243"/>
                  <a:gd name="T58" fmla="*/ 289 w 384"/>
                  <a:gd name="T59" fmla="*/ 123 h 243"/>
                  <a:gd name="T60" fmla="*/ 238 w 384"/>
                  <a:gd name="T61" fmla="*/ 148 h 243"/>
                  <a:gd name="T62" fmla="*/ 208 w 384"/>
                  <a:gd name="T63" fmla="*/ 134 h 243"/>
                  <a:gd name="T64" fmla="*/ 208 w 384"/>
                  <a:gd name="T65" fmla="*/ 110 h 243"/>
                  <a:gd name="T66" fmla="*/ 238 w 384"/>
                  <a:gd name="T67" fmla="*/ 65 h 243"/>
                  <a:gd name="T68" fmla="*/ 236 w 384"/>
                  <a:gd name="T69" fmla="*/ 181 h 243"/>
                  <a:gd name="T70" fmla="*/ 238 w 384"/>
                  <a:gd name="T71" fmla="*/ 155 h 243"/>
                  <a:gd name="T72" fmla="*/ 182 w 384"/>
                  <a:gd name="T73" fmla="*/ 129 h 243"/>
                  <a:gd name="T74" fmla="*/ 202 w 384"/>
                  <a:gd name="T75" fmla="*/ 137 h 243"/>
                  <a:gd name="T76" fmla="*/ 136 w 384"/>
                  <a:gd name="T77" fmla="*/ 198 h 243"/>
                  <a:gd name="T78" fmla="*/ 123 w 384"/>
                  <a:gd name="T79" fmla="*/ 146 h 243"/>
                  <a:gd name="T80" fmla="*/ 219 w 384"/>
                  <a:gd name="T81" fmla="*/ 165 h 243"/>
                  <a:gd name="T82" fmla="*/ 225 w 384"/>
                  <a:gd name="T83" fmla="*/ 195 h 243"/>
                  <a:gd name="T84" fmla="*/ 219 w 384"/>
                  <a:gd name="T85" fmla="*/ 165 h 243"/>
                  <a:gd name="T86" fmla="*/ 245 w 384"/>
                  <a:gd name="T87" fmla="*/ 152 h 243"/>
                  <a:gd name="T88" fmla="*/ 293 w 384"/>
                  <a:gd name="T89" fmla="*/ 129 h 243"/>
                  <a:gd name="T90" fmla="*/ 245 w 384"/>
                  <a:gd name="T91" fmla="*/ 181 h 243"/>
                  <a:gd name="T92" fmla="*/ 230 w 384"/>
                  <a:gd name="T93" fmla="*/ 61 h 243"/>
                  <a:gd name="T94" fmla="*/ 197 w 384"/>
                  <a:gd name="T95" fmla="*/ 105 h 243"/>
                  <a:gd name="T96" fmla="*/ 133 w 384"/>
                  <a:gd name="T97" fmla="*/ 89 h 243"/>
                  <a:gd name="T98" fmla="*/ 134 w 384"/>
                  <a:gd name="T99" fmla="*/ 84 h 243"/>
                  <a:gd name="T100" fmla="*/ 64 w 384"/>
                  <a:gd name="T101" fmla="*/ 169 h 243"/>
                  <a:gd name="T102" fmla="*/ 65 w 384"/>
                  <a:gd name="T103" fmla="*/ 163 h 243"/>
                  <a:gd name="T104" fmla="*/ 119 w 384"/>
                  <a:gd name="T105" fmla="*/ 192 h 243"/>
                  <a:gd name="T106" fmla="*/ 64 w 384"/>
                  <a:gd name="T107" fmla="*/ 169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84" h="243">
                    <a:moveTo>
                      <a:pt x="300" y="243"/>
                    </a:moveTo>
                    <a:cubicBezTo>
                      <a:pt x="64" y="243"/>
                      <a:pt x="64" y="243"/>
                      <a:pt x="64" y="243"/>
                    </a:cubicBezTo>
                    <a:cubicBezTo>
                      <a:pt x="61" y="243"/>
                      <a:pt x="61" y="243"/>
                      <a:pt x="61" y="243"/>
                    </a:cubicBezTo>
                    <a:cubicBezTo>
                      <a:pt x="27" y="241"/>
                      <a:pt x="0" y="213"/>
                      <a:pt x="0" y="179"/>
                    </a:cubicBezTo>
                    <a:cubicBezTo>
                      <a:pt x="0" y="145"/>
                      <a:pt x="27" y="117"/>
                      <a:pt x="61" y="115"/>
                    </a:cubicBezTo>
                    <a:cubicBezTo>
                      <a:pt x="59" y="109"/>
                      <a:pt x="58" y="103"/>
                      <a:pt x="58" y="96"/>
                    </a:cubicBezTo>
                    <a:cubicBezTo>
                      <a:pt x="58" y="61"/>
                      <a:pt x="86" y="32"/>
                      <a:pt x="122" y="32"/>
                    </a:cubicBezTo>
                    <a:cubicBezTo>
                      <a:pt x="134" y="32"/>
                      <a:pt x="146" y="36"/>
                      <a:pt x="156" y="42"/>
                    </a:cubicBezTo>
                    <a:cubicBezTo>
                      <a:pt x="168" y="17"/>
                      <a:pt x="194" y="0"/>
                      <a:pt x="224" y="0"/>
                    </a:cubicBezTo>
                    <a:cubicBezTo>
                      <a:pt x="266" y="0"/>
                      <a:pt x="300" y="35"/>
                      <a:pt x="300" y="77"/>
                    </a:cubicBezTo>
                    <a:cubicBezTo>
                      <a:pt x="346" y="77"/>
                      <a:pt x="384" y="114"/>
                      <a:pt x="384" y="160"/>
                    </a:cubicBezTo>
                    <a:cubicBezTo>
                      <a:pt x="384" y="206"/>
                      <a:pt x="346" y="243"/>
                      <a:pt x="300" y="243"/>
                    </a:cubicBezTo>
                    <a:close/>
                    <a:moveTo>
                      <a:pt x="305" y="102"/>
                    </a:moveTo>
                    <a:cubicBezTo>
                      <a:pt x="302" y="102"/>
                      <a:pt x="299" y="103"/>
                      <a:pt x="297" y="104"/>
                    </a:cubicBezTo>
                    <a:cubicBezTo>
                      <a:pt x="255" y="59"/>
                      <a:pt x="255" y="59"/>
                      <a:pt x="255" y="59"/>
                    </a:cubicBezTo>
                    <a:cubicBezTo>
                      <a:pt x="257" y="56"/>
                      <a:pt x="258" y="53"/>
                      <a:pt x="258" y="49"/>
                    </a:cubicBezTo>
                    <a:cubicBezTo>
                      <a:pt x="258" y="40"/>
                      <a:pt x="251" y="33"/>
                      <a:pt x="241" y="33"/>
                    </a:cubicBezTo>
                    <a:cubicBezTo>
                      <a:pt x="232" y="33"/>
                      <a:pt x="225" y="40"/>
                      <a:pt x="225" y="49"/>
                    </a:cubicBezTo>
                    <a:cubicBezTo>
                      <a:pt x="225" y="50"/>
                      <a:pt x="225" y="50"/>
                      <a:pt x="225" y="51"/>
                    </a:cubicBezTo>
                    <a:cubicBezTo>
                      <a:pt x="132" y="78"/>
                      <a:pt x="132" y="78"/>
                      <a:pt x="132" y="78"/>
                    </a:cubicBezTo>
                    <a:cubicBezTo>
                      <a:pt x="129" y="73"/>
                      <a:pt x="123" y="69"/>
                      <a:pt x="117" y="69"/>
                    </a:cubicBezTo>
                    <a:cubicBezTo>
                      <a:pt x="108" y="69"/>
                      <a:pt x="101" y="76"/>
                      <a:pt x="101" y="85"/>
                    </a:cubicBezTo>
                    <a:cubicBezTo>
                      <a:pt x="101" y="89"/>
                      <a:pt x="102" y="93"/>
                      <a:pt x="104" y="95"/>
                    </a:cubicBezTo>
                    <a:cubicBezTo>
                      <a:pt x="56" y="150"/>
                      <a:pt x="56" y="150"/>
                      <a:pt x="56" y="150"/>
                    </a:cubicBezTo>
                    <a:cubicBezTo>
                      <a:pt x="54" y="148"/>
                      <a:pt x="51" y="147"/>
                      <a:pt x="48" y="147"/>
                    </a:cubicBezTo>
                    <a:cubicBezTo>
                      <a:pt x="39" y="147"/>
                      <a:pt x="32" y="155"/>
                      <a:pt x="32" y="164"/>
                    </a:cubicBezTo>
                    <a:cubicBezTo>
                      <a:pt x="32" y="173"/>
                      <a:pt x="39" y="180"/>
                      <a:pt x="48" y="180"/>
                    </a:cubicBezTo>
                    <a:cubicBezTo>
                      <a:pt x="53" y="180"/>
                      <a:pt x="57" y="178"/>
                      <a:pt x="60" y="175"/>
                    </a:cubicBezTo>
                    <a:cubicBezTo>
                      <a:pt x="107" y="203"/>
                      <a:pt x="107" y="203"/>
                      <a:pt x="107" y="203"/>
                    </a:cubicBezTo>
                    <a:cubicBezTo>
                      <a:pt x="106" y="205"/>
                      <a:pt x="106" y="206"/>
                      <a:pt x="106" y="208"/>
                    </a:cubicBezTo>
                    <a:cubicBezTo>
                      <a:pt x="106" y="217"/>
                      <a:pt x="113" y="225"/>
                      <a:pt x="123" y="225"/>
                    </a:cubicBezTo>
                    <a:cubicBezTo>
                      <a:pt x="131" y="225"/>
                      <a:pt x="138" y="218"/>
                      <a:pt x="139" y="210"/>
                    </a:cubicBezTo>
                    <a:cubicBezTo>
                      <a:pt x="226" y="202"/>
                      <a:pt x="226" y="202"/>
                      <a:pt x="226" y="202"/>
                    </a:cubicBezTo>
                    <a:cubicBezTo>
                      <a:pt x="228" y="208"/>
                      <a:pt x="234" y="213"/>
                      <a:pt x="241" y="213"/>
                    </a:cubicBezTo>
                    <a:cubicBezTo>
                      <a:pt x="251" y="213"/>
                      <a:pt x="258" y="206"/>
                      <a:pt x="258" y="197"/>
                    </a:cubicBezTo>
                    <a:cubicBezTo>
                      <a:pt x="258" y="193"/>
                      <a:pt x="257" y="189"/>
                      <a:pt x="254" y="186"/>
                    </a:cubicBezTo>
                    <a:cubicBezTo>
                      <a:pt x="298" y="133"/>
                      <a:pt x="298" y="133"/>
                      <a:pt x="298" y="133"/>
                    </a:cubicBezTo>
                    <a:cubicBezTo>
                      <a:pt x="300" y="134"/>
                      <a:pt x="303" y="135"/>
                      <a:pt x="305" y="135"/>
                    </a:cubicBezTo>
                    <a:cubicBezTo>
                      <a:pt x="314" y="135"/>
                      <a:pt x="322" y="128"/>
                      <a:pt x="322" y="118"/>
                    </a:cubicBezTo>
                    <a:cubicBezTo>
                      <a:pt x="322" y="109"/>
                      <a:pt x="314" y="102"/>
                      <a:pt x="305" y="102"/>
                    </a:cubicBezTo>
                    <a:close/>
                    <a:moveTo>
                      <a:pt x="61" y="154"/>
                    </a:moveTo>
                    <a:cubicBezTo>
                      <a:pt x="109" y="100"/>
                      <a:pt x="109" y="100"/>
                      <a:pt x="109" y="100"/>
                    </a:cubicBezTo>
                    <a:cubicBezTo>
                      <a:pt x="111" y="101"/>
                      <a:pt x="113" y="101"/>
                      <a:pt x="115" y="102"/>
                    </a:cubicBezTo>
                    <a:cubicBezTo>
                      <a:pt x="116" y="141"/>
                      <a:pt x="116" y="141"/>
                      <a:pt x="116" y="141"/>
                    </a:cubicBezTo>
                    <a:cubicBezTo>
                      <a:pt x="63" y="156"/>
                      <a:pt x="63" y="156"/>
                      <a:pt x="63" y="156"/>
                    </a:cubicBezTo>
                    <a:cubicBezTo>
                      <a:pt x="62" y="155"/>
                      <a:pt x="62" y="155"/>
                      <a:pt x="61" y="154"/>
                    </a:cubicBezTo>
                    <a:close/>
                    <a:moveTo>
                      <a:pt x="121" y="101"/>
                    </a:moveTo>
                    <a:cubicBezTo>
                      <a:pt x="125" y="100"/>
                      <a:pt x="128" y="98"/>
                      <a:pt x="130" y="95"/>
                    </a:cubicBezTo>
                    <a:cubicBezTo>
                      <a:pt x="181" y="118"/>
                      <a:pt x="181" y="118"/>
                      <a:pt x="181" y="118"/>
                    </a:cubicBezTo>
                    <a:cubicBezTo>
                      <a:pt x="181" y="119"/>
                      <a:pt x="180" y="120"/>
                      <a:pt x="180" y="122"/>
                    </a:cubicBezTo>
                    <a:cubicBezTo>
                      <a:pt x="180" y="122"/>
                      <a:pt x="180" y="123"/>
                      <a:pt x="180" y="123"/>
                    </a:cubicBezTo>
                    <a:cubicBezTo>
                      <a:pt x="123" y="139"/>
                      <a:pt x="123" y="139"/>
                      <a:pt x="123" y="139"/>
                    </a:cubicBezTo>
                    <a:lnTo>
                      <a:pt x="121" y="101"/>
                    </a:lnTo>
                    <a:close/>
                    <a:moveTo>
                      <a:pt x="289" y="123"/>
                    </a:moveTo>
                    <a:cubicBezTo>
                      <a:pt x="245" y="145"/>
                      <a:pt x="245" y="145"/>
                      <a:pt x="245" y="145"/>
                    </a:cubicBezTo>
                    <a:cubicBezTo>
                      <a:pt x="245" y="65"/>
                      <a:pt x="245" y="65"/>
                      <a:pt x="245" y="65"/>
                    </a:cubicBezTo>
                    <a:cubicBezTo>
                      <a:pt x="247" y="65"/>
                      <a:pt x="248" y="64"/>
                      <a:pt x="250" y="63"/>
                    </a:cubicBezTo>
                    <a:cubicBezTo>
                      <a:pt x="292" y="109"/>
                      <a:pt x="292" y="109"/>
                      <a:pt x="292" y="109"/>
                    </a:cubicBezTo>
                    <a:cubicBezTo>
                      <a:pt x="290" y="112"/>
                      <a:pt x="289" y="115"/>
                      <a:pt x="289" y="118"/>
                    </a:cubicBezTo>
                    <a:cubicBezTo>
                      <a:pt x="289" y="120"/>
                      <a:pt x="289" y="121"/>
                      <a:pt x="289" y="123"/>
                    </a:cubicBezTo>
                    <a:close/>
                    <a:moveTo>
                      <a:pt x="238" y="65"/>
                    </a:moveTo>
                    <a:cubicBezTo>
                      <a:pt x="238" y="148"/>
                      <a:pt x="238" y="148"/>
                      <a:pt x="238" y="148"/>
                    </a:cubicBezTo>
                    <a:cubicBezTo>
                      <a:pt x="221" y="156"/>
                      <a:pt x="221" y="156"/>
                      <a:pt x="221" y="156"/>
                    </a:cubicBezTo>
                    <a:cubicBezTo>
                      <a:pt x="208" y="134"/>
                      <a:pt x="208" y="134"/>
                      <a:pt x="208" y="134"/>
                    </a:cubicBezTo>
                    <a:cubicBezTo>
                      <a:pt x="211" y="131"/>
                      <a:pt x="213" y="127"/>
                      <a:pt x="213" y="122"/>
                    </a:cubicBezTo>
                    <a:cubicBezTo>
                      <a:pt x="213" y="117"/>
                      <a:pt x="211" y="113"/>
                      <a:pt x="208" y="110"/>
                    </a:cubicBezTo>
                    <a:cubicBezTo>
                      <a:pt x="236" y="65"/>
                      <a:pt x="236" y="65"/>
                      <a:pt x="236" y="65"/>
                    </a:cubicBezTo>
                    <a:cubicBezTo>
                      <a:pt x="237" y="65"/>
                      <a:pt x="237" y="65"/>
                      <a:pt x="238" y="65"/>
                    </a:cubicBezTo>
                    <a:close/>
                    <a:moveTo>
                      <a:pt x="238" y="181"/>
                    </a:moveTo>
                    <a:cubicBezTo>
                      <a:pt x="237" y="181"/>
                      <a:pt x="237" y="181"/>
                      <a:pt x="236" y="181"/>
                    </a:cubicBezTo>
                    <a:cubicBezTo>
                      <a:pt x="225" y="162"/>
                      <a:pt x="225" y="162"/>
                      <a:pt x="225" y="162"/>
                    </a:cubicBezTo>
                    <a:cubicBezTo>
                      <a:pt x="238" y="155"/>
                      <a:pt x="238" y="155"/>
                      <a:pt x="238" y="155"/>
                    </a:cubicBezTo>
                    <a:lnTo>
                      <a:pt x="238" y="181"/>
                    </a:lnTo>
                    <a:close/>
                    <a:moveTo>
                      <a:pt x="182" y="129"/>
                    </a:moveTo>
                    <a:cubicBezTo>
                      <a:pt x="185" y="135"/>
                      <a:pt x="191" y="138"/>
                      <a:pt x="197" y="138"/>
                    </a:cubicBezTo>
                    <a:cubicBezTo>
                      <a:pt x="199" y="138"/>
                      <a:pt x="201" y="138"/>
                      <a:pt x="202" y="137"/>
                    </a:cubicBezTo>
                    <a:cubicBezTo>
                      <a:pt x="215" y="159"/>
                      <a:pt x="215" y="159"/>
                      <a:pt x="215" y="159"/>
                    </a:cubicBezTo>
                    <a:cubicBezTo>
                      <a:pt x="136" y="198"/>
                      <a:pt x="136" y="198"/>
                      <a:pt x="136" y="198"/>
                    </a:cubicBezTo>
                    <a:cubicBezTo>
                      <a:pt x="133" y="195"/>
                      <a:pt x="129" y="193"/>
                      <a:pt x="125" y="192"/>
                    </a:cubicBezTo>
                    <a:cubicBezTo>
                      <a:pt x="123" y="146"/>
                      <a:pt x="123" y="146"/>
                      <a:pt x="123" y="146"/>
                    </a:cubicBezTo>
                    <a:lnTo>
                      <a:pt x="182" y="129"/>
                    </a:lnTo>
                    <a:close/>
                    <a:moveTo>
                      <a:pt x="219" y="165"/>
                    </a:moveTo>
                    <a:cubicBezTo>
                      <a:pt x="230" y="185"/>
                      <a:pt x="230" y="185"/>
                      <a:pt x="230" y="185"/>
                    </a:cubicBezTo>
                    <a:cubicBezTo>
                      <a:pt x="227" y="187"/>
                      <a:pt x="225" y="191"/>
                      <a:pt x="225" y="195"/>
                    </a:cubicBezTo>
                    <a:cubicBezTo>
                      <a:pt x="140" y="203"/>
                      <a:pt x="140" y="203"/>
                      <a:pt x="140" y="203"/>
                    </a:cubicBezTo>
                    <a:lnTo>
                      <a:pt x="219" y="165"/>
                    </a:lnTo>
                    <a:close/>
                    <a:moveTo>
                      <a:pt x="245" y="181"/>
                    </a:moveTo>
                    <a:cubicBezTo>
                      <a:pt x="245" y="152"/>
                      <a:pt x="245" y="152"/>
                      <a:pt x="245" y="152"/>
                    </a:cubicBezTo>
                    <a:cubicBezTo>
                      <a:pt x="292" y="129"/>
                      <a:pt x="292" y="129"/>
                      <a:pt x="292" y="129"/>
                    </a:cubicBezTo>
                    <a:cubicBezTo>
                      <a:pt x="292" y="129"/>
                      <a:pt x="292" y="129"/>
                      <a:pt x="293" y="129"/>
                    </a:cubicBezTo>
                    <a:cubicBezTo>
                      <a:pt x="249" y="182"/>
                      <a:pt x="249" y="182"/>
                      <a:pt x="249" y="182"/>
                    </a:cubicBezTo>
                    <a:cubicBezTo>
                      <a:pt x="248" y="182"/>
                      <a:pt x="246" y="181"/>
                      <a:pt x="245" y="181"/>
                    </a:cubicBezTo>
                    <a:close/>
                    <a:moveTo>
                      <a:pt x="227" y="57"/>
                    </a:moveTo>
                    <a:cubicBezTo>
                      <a:pt x="228" y="59"/>
                      <a:pt x="229" y="60"/>
                      <a:pt x="230" y="61"/>
                    </a:cubicBezTo>
                    <a:cubicBezTo>
                      <a:pt x="203" y="106"/>
                      <a:pt x="203" y="106"/>
                      <a:pt x="203" y="106"/>
                    </a:cubicBezTo>
                    <a:cubicBezTo>
                      <a:pt x="201" y="106"/>
                      <a:pt x="199" y="105"/>
                      <a:pt x="197" y="105"/>
                    </a:cubicBezTo>
                    <a:cubicBezTo>
                      <a:pt x="191" y="105"/>
                      <a:pt x="187" y="108"/>
                      <a:pt x="184" y="112"/>
                    </a:cubicBezTo>
                    <a:cubicBezTo>
                      <a:pt x="133" y="89"/>
                      <a:pt x="133" y="89"/>
                      <a:pt x="133" y="89"/>
                    </a:cubicBezTo>
                    <a:cubicBezTo>
                      <a:pt x="133" y="88"/>
                      <a:pt x="134" y="87"/>
                      <a:pt x="134" y="85"/>
                    </a:cubicBezTo>
                    <a:cubicBezTo>
                      <a:pt x="134" y="85"/>
                      <a:pt x="134" y="85"/>
                      <a:pt x="134" y="84"/>
                    </a:cubicBezTo>
                    <a:lnTo>
                      <a:pt x="227" y="57"/>
                    </a:lnTo>
                    <a:close/>
                    <a:moveTo>
                      <a:pt x="64" y="169"/>
                    </a:moveTo>
                    <a:cubicBezTo>
                      <a:pt x="64" y="168"/>
                      <a:pt x="65" y="166"/>
                      <a:pt x="65" y="164"/>
                    </a:cubicBezTo>
                    <a:cubicBezTo>
                      <a:pt x="65" y="163"/>
                      <a:pt x="65" y="163"/>
                      <a:pt x="65" y="163"/>
                    </a:cubicBezTo>
                    <a:cubicBezTo>
                      <a:pt x="117" y="148"/>
                      <a:pt x="117" y="148"/>
                      <a:pt x="117" y="148"/>
                    </a:cubicBezTo>
                    <a:cubicBezTo>
                      <a:pt x="119" y="192"/>
                      <a:pt x="119" y="192"/>
                      <a:pt x="119" y="192"/>
                    </a:cubicBezTo>
                    <a:cubicBezTo>
                      <a:pt x="115" y="193"/>
                      <a:pt x="113" y="195"/>
                      <a:pt x="110" y="197"/>
                    </a:cubicBezTo>
                    <a:lnTo>
                      <a:pt x="64" y="169"/>
                    </a:lnTo>
                    <a:close/>
                  </a:path>
                </a:pathLst>
              </a:cu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4" name="Gruppieren 203"/>
            <p:cNvGrpSpPr/>
            <p:nvPr/>
          </p:nvGrpSpPr>
          <p:grpSpPr>
            <a:xfrm>
              <a:off x="6573255" y="4353288"/>
              <a:ext cx="246000" cy="364000"/>
              <a:chOff x="6573255" y="4353288"/>
              <a:chExt cx="246000" cy="364000"/>
            </a:xfrm>
          </p:grpSpPr>
          <p:sp>
            <p:nvSpPr>
              <p:cNvPr id="83" name="Oval 22"/>
              <p:cNvSpPr>
                <a:spLocks noChangeArrowheads="1"/>
              </p:cNvSpPr>
              <p:nvPr/>
            </p:nvSpPr>
            <p:spPr bwMode="auto">
              <a:xfrm>
                <a:off x="6573255" y="4643955"/>
                <a:ext cx="73333" cy="733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4" name="Oval 23"/>
              <p:cNvSpPr>
                <a:spLocks noChangeArrowheads="1"/>
              </p:cNvSpPr>
              <p:nvPr/>
            </p:nvSpPr>
            <p:spPr bwMode="auto">
              <a:xfrm>
                <a:off x="6628588" y="4522621"/>
                <a:ext cx="98667" cy="993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85" name="Oval 24"/>
              <p:cNvSpPr>
                <a:spLocks noChangeArrowheads="1"/>
              </p:cNvSpPr>
              <p:nvPr/>
            </p:nvSpPr>
            <p:spPr bwMode="auto">
              <a:xfrm>
                <a:off x="6672588" y="4353288"/>
                <a:ext cx="146667" cy="1473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66" name="Gruppieren 265"/>
          <p:cNvGrpSpPr/>
          <p:nvPr/>
        </p:nvGrpSpPr>
        <p:grpSpPr>
          <a:xfrm>
            <a:off x="4514999" y="3856367"/>
            <a:ext cx="1110096" cy="1084843"/>
            <a:chOff x="4514999" y="3632445"/>
            <a:chExt cx="1110096" cy="1084843"/>
          </a:xfrm>
        </p:grpSpPr>
        <p:grpSp>
          <p:nvGrpSpPr>
            <p:cNvPr id="205" name="Gruppieren 204"/>
            <p:cNvGrpSpPr/>
            <p:nvPr/>
          </p:nvGrpSpPr>
          <p:grpSpPr>
            <a:xfrm>
              <a:off x="5379095" y="4353288"/>
              <a:ext cx="246000" cy="364000"/>
              <a:chOff x="5433496" y="4353288"/>
              <a:chExt cx="246000" cy="364000"/>
            </a:xfrm>
          </p:grpSpPr>
          <p:sp>
            <p:nvSpPr>
              <p:cNvPr id="67" name="Oval 6"/>
              <p:cNvSpPr>
                <a:spLocks noChangeArrowheads="1"/>
              </p:cNvSpPr>
              <p:nvPr/>
            </p:nvSpPr>
            <p:spPr bwMode="auto">
              <a:xfrm>
                <a:off x="5606163" y="4643955"/>
                <a:ext cx="73333" cy="73333"/>
              </a:xfrm>
              <a:prstGeom prst="ellipse">
                <a:avLst/>
              </a:prstGeom>
              <a:solidFill>
                <a:srgbClr val="505A6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8" name="Oval 7"/>
              <p:cNvSpPr>
                <a:spLocks noChangeArrowheads="1"/>
              </p:cNvSpPr>
              <p:nvPr/>
            </p:nvSpPr>
            <p:spPr bwMode="auto">
              <a:xfrm>
                <a:off x="5525496" y="4522621"/>
                <a:ext cx="99334" cy="99334"/>
              </a:xfrm>
              <a:prstGeom prst="ellipse">
                <a:avLst/>
              </a:prstGeom>
              <a:solidFill>
                <a:srgbClr val="505A6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9" name="Oval 8"/>
              <p:cNvSpPr>
                <a:spLocks noChangeArrowheads="1"/>
              </p:cNvSpPr>
              <p:nvPr/>
            </p:nvSpPr>
            <p:spPr bwMode="auto">
              <a:xfrm>
                <a:off x="5433496" y="4353288"/>
                <a:ext cx="147334" cy="147334"/>
              </a:xfrm>
              <a:prstGeom prst="ellipse">
                <a:avLst/>
              </a:prstGeom>
              <a:solidFill>
                <a:srgbClr val="505A6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6" name="Gruppieren 205"/>
            <p:cNvGrpSpPr/>
            <p:nvPr/>
          </p:nvGrpSpPr>
          <p:grpSpPr>
            <a:xfrm>
              <a:off x="4514999" y="3632445"/>
              <a:ext cx="1080000" cy="804667"/>
              <a:chOff x="4596163" y="3622621"/>
              <a:chExt cx="1080000" cy="804667"/>
            </a:xfrm>
          </p:grpSpPr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4596163" y="3622621"/>
                <a:ext cx="1080000" cy="804667"/>
              </a:xfrm>
              <a:custGeom>
                <a:avLst/>
                <a:gdLst>
                  <a:gd name="T0" fmla="*/ 1620 w 1620"/>
                  <a:gd name="T1" fmla="*/ 0 h 1207"/>
                  <a:gd name="T2" fmla="*/ 0 w 1620"/>
                  <a:gd name="T3" fmla="*/ 0 h 1207"/>
                  <a:gd name="T4" fmla="*/ 0 w 1620"/>
                  <a:gd name="T5" fmla="*/ 1207 h 1207"/>
                  <a:gd name="T6" fmla="*/ 1620 w 1620"/>
                  <a:gd name="T7" fmla="*/ 1207 h 1207"/>
                  <a:gd name="T8" fmla="*/ 1620 w 1620"/>
                  <a:gd name="T9" fmla="*/ 0 h 1207"/>
                  <a:gd name="T10" fmla="*/ 1620 w 1620"/>
                  <a:gd name="T11" fmla="*/ 0 h 1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20" h="1207">
                    <a:moveTo>
                      <a:pt x="1620" y="0"/>
                    </a:moveTo>
                    <a:lnTo>
                      <a:pt x="0" y="0"/>
                    </a:lnTo>
                    <a:lnTo>
                      <a:pt x="0" y="1207"/>
                    </a:lnTo>
                    <a:lnTo>
                      <a:pt x="1620" y="1207"/>
                    </a:lnTo>
                    <a:lnTo>
                      <a:pt x="1620" y="0"/>
                    </a:lnTo>
                    <a:lnTo>
                      <a:pt x="1620" y="0"/>
                    </a:lnTo>
                    <a:close/>
                  </a:path>
                </a:pathLst>
              </a:custGeom>
              <a:solidFill>
                <a:srgbClr val="505A6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87" name="Gruppieren 186"/>
              <p:cNvGrpSpPr/>
              <p:nvPr/>
            </p:nvGrpSpPr>
            <p:grpSpPr>
              <a:xfrm>
                <a:off x="4739497" y="3760287"/>
                <a:ext cx="793333" cy="529334"/>
                <a:chOff x="4824163" y="3527137"/>
                <a:chExt cx="793333" cy="529334"/>
              </a:xfrm>
              <a:solidFill>
                <a:schemeClr val="bg1"/>
              </a:solidFill>
            </p:grpSpPr>
            <p:sp>
              <p:nvSpPr>
                <p:cNvPr id="188" name="Freeform 17"/>
                <p:cNvSpPr>
                  <a:spLocks/>
                </p:cNvSpPr>
                <p:nvPr/>
              </p:nvSpPr>
              <p:spPr bwMode="auto">
                <a:xfrm>
                  <a:off x="4824163" y="3527137"/>
                  <a:ext cx="194667" cy="58667"/>
                </a:xfrm>
                <a:custGeom>
                  <a:avLst/>
                  <a:gdLst>
                    <a:gd name="T0" fmla="*/ 51 w 53"/>
                    <a:gd name="T1" fmla="*/ 13 h 16"/>
                    <a:gd name="T2" fmla="*/ 53 w 53"/>
                    <a:gd name="T3" fmla="*/ 16 h 16"/>
                    <a:gd name="T4" fmla="*/ 0 w 53"/>
                    <a:gd name="T5" fmla="*/ 16 h 16"/>
                    <a:gd name="T6" fmla="*/ 2 w 53"/>
                    <a:gd name="T7" fmla="*/ 14 h 16"/>
                    <a:gd name="T8" fmla="*/ 51 w 53"/>
                    <a:gd name="T9" fmla="*/ 1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3" h="16">
                      <a:moveTo>
                        <a:pt x="51" y="13"/>
                      </a:moveTo>
                      <a:cubicBezTo>
                        <a:pt x="52" y="14"/>
                        <a:pt x="53" y="15"/>
                        <a:pt x="53" y="16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15"/>
                        <a:pt x="1" y="14"/>
                        <a:pt x="2" y="14"/>
                      </a:cubicBezTo>
                      <a:cubicBezTo>
                        <a:pt x="15" y="0"/>
                        <a:pt x="37" y="0"/>
                        <a:pt x="51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89" name="Rectangle 18"/>
                <p:cNvSpPr>
                  <a:spLocks noChangeArrowheads="1"/>
                </p:cNvSpPr>
                <p:nvPr/>
              </p:nvSpPr>
              <p:spPr bwMode="auto">
                <a:xfrm>
                  <a:off x="4824163" y="3604471"/>
                  <a:ext cx="194667" cy="99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0" name="Rectangle 19"/>
                <p:cNvSpPr>
                  <a:spLocks noChangeArrowheads="1"/>
                </p:cNvSpPr>
                <p:nvPr/>
              </p:nvSpPr>
              <p:spPr bwMode="auto">
                <a:xfrm>
                  <a:off x="4824163" y="3721804"/>
                  <a:ext cx="194667" cy="99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1" name="Rectangle 20"/>
                <p:cNvSpPr>
                  <a:spLocks noChangeArrowheads="1"/>
                </p:cNvSpPr>
                <p:nvPr/>
              </p:nvSpPr>
              <p:spPr bwMode="auto">
                <a:xfrm>
                  <a:off x="4824163" y="3839804"/>
                  <a:ext cx="194667" cy="986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2" name="Rectangle 21"/>
                <p:cNvSpPr>
                  <a:spLocks noChangeArrowheads="1"/>
                </p:cNvSpPr>
                <p:nvPr/>
              </p:nvSpPr>
              <p:spPr bwMode="auto">
                <a:xfrm>
                  <a:off x="4824163" y="3957137"/>
                  <a:ext cx="194667" cy="99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3" name="Rectangle 22"/>
                <p:cNvSpPr>
                  <a:spLocks noChangeArrowheads="1"/>
                </p:cNvSpPr>
                <p:nvPr/>
              </p:nvSpPr>
              <p:spPr bwMode="auto">
                <a:xfrm>
                  <a:off x="5036829" y="3839804"/>
                  <a:ext cx="198667" cy="986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4" name="Rectangle 23"/>
                <p:cNvSpPr>
                  <a:spLocks noChangeArrowheads="1"/>
                </p:cNvSpPr>
                <p:nvPr/>
              </p:nvSpPr>
              <p:spPr bwMode="auto">
                <a:xfrm>
                  <a:off x="5036829" y="3957137"/>
                  <a:ext cx="198667" cy="99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5" name="Freeform 24"/>
                <p:cNvSpPr>
                  <a:spLocks/>
                </p:cNvSpPr>
                <p:nvPr/>
              </p:nvSpPr>
              <p:spPr bwMode="auto">
                <a:xfrm>
                  <a:off x="5036829" y="3721804"/>
                  <a:ext cx="198667" cy="99334"/>
                </a:xfrm>
                <a:custGeom>
                  <a:avLst/>
                  <a:gdLst>
                    <a:gd name="T0" fmla="*/ 226 w 298"/>
                    <a:gd name="T1" fmla="*/ 99 h 149"/>
                    <a:gd name="T2" fmla="*/ 221 w 298"/>
                    <a:gd name="T3" fmla="*/ 28 h 149"/>
                    <a:gd name="T4" fmla="*/ 149 w 298"/>
                    <a:gd name="T5" fmla="*/ 66 h 149"/>
                    <a:gd name="T6" fmla="*/ 72 w 298"/>
                    <a:gd name="T7" fmla="*/ 0 h 149"/>
                    <a:gd name="T8" fmla="*/ 0 w 298"/>
                    <a:gd name="T9" fmla="*/ 0 h 149"/>
                    <a:gd name="T10" fmla="*/ 0 w 298"/>
                    <a:gd name="T11" fmla="*/ 149 h 149"/>
                    <a:gd name="T12" fmla="*/ 298 w 298"/>
                    <a:gd name="T13" fmla="*/ 149 h 149"/>
                    <a:gd name="T14" fmla="*/ 298 w 298"/>
                    <a:gd name="T15" fmla="*/ 110 h 149"/>
                    <a:gd name="T16" fmla="*/ 226 w 298"/>
                    <a:gd name="T17" fmla="*/ 99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98" h="149">
                      <a:moveTo>
                        <a:pt x="226" y="99"/>
                      </a:moveTo>
                      <a:lnTo>
                        <a:pt x="221" y="28"/>
                      </a:lnTo>
                      <a:lnTo>
                        <a:pt x="149" y="66"/>
                      </a:lnTo>
                      <a:lnTo>
                        <a:pt x="72" y="0"/>
                      </a:lnTo>
                      <a:lnTo>
                        <a:pt x="0" y="0"/>
                      </a:lnTo>
                      <a:lnTo>
                        <a:pt x="0" y="149"/>
                      </a:lnTo>
                      <a:lnTo>
                        <a:pt x="298" y="149"/>
                      </a:lnTo>
                      <a:lnTo>
                        <a:pt x="298" y="110"/>
                      </a:lnTo>
                      <a:lnTo>
                        <a:pt x="226" y="9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6" name="Rectangle 25"/>
                <p:cNvSpPr>
                  <a:spLocks noChangeArrowheads="1"/>
                </p:cNvSpPr>
                <p:nvPr/>
              </p:nvSpPr>
              <p:spPr bwMode="auto">
                <a:xfrm>
                  <a:off x="5253496" y="3957137"/>
                  <a:ext cx="198667" cy="99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7" name="Freeform 26"/>
                <p:cNvSpPr>
                  <a:spLocks/>
                </p:cNvSpPr>
                <p:nvPr/>
              </p:nvSpPr>
              <p:spPr bwMode="auto">
                <a:xfrm>
                  <a:off x="5253496" y="3857804"/>
                  <a:ext cx="198667" cy="80667"/>
                </a:xfrm>
                <a:custGeom>
                  <a:avLst/>
                  <a:gdLst>
                    <a:gd name="T0" fmla="*/ 199 w 298"/>
                    <a:gd name="T1" fmla="*/ 77 h 121"/>
                    <a:gd name="T2" fmla="*/ 138 w 298"/>
                    <a:gd name="T3" fmla="*/ 0 h 121"/>
                    <a:gd name="T4" fmla="*/ 55 w 298"/>
                    <a:gd name="T5" fmla="*/ 66 h 121"/>
                    <a:gd name="T6" fmla="*/ 0 w 298"/>
                    <a:gd name="T7" fmla="*/ 28 h 121"/>
                    <a:gd name="T8" fmla="*/ 0 w 298"/>
                    <a:gd name="T9" fmla="*/ 121 h 121"/>
                    <a:gd name="T10" fmla="*/ 298 w 298"/>
                    <a:gd name="T11" fmla="*/ 121 h 121"/>
                    <a:gd name="T12" fmla="*/ 298 w 298"/>
                    <a:gd name="T13" fmla="*/ 77 h 121"/>
                    <a:gd name="T14" fmla="*/ 199 w 298"/>
                    <a:gd name="T15" fmla="*/ 77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98" h="121">
                      <a:moveTo>
                        <a:pt x="199" y="77"/>
                      </a:moveTo>
                      <a:lnTo>
                        <a:pt x="138" y="0"/>
                      </a:lnTo>
                      <a:lnTo>
                        <a:pt x="55" y="66"/>
                      </a:lnTo>
                      <a:lnTo>
                        <a:pt x="0" y="28"/>
                      </a:lnTo>
                      <a:lnTo>
                        <a:pt x="0" y="121"/>
                      </a:lnTo>
                      <a:lnTo>
                        <a:pt x="298" y="121"/>
                      </a:lnTo>
                      <a:lnTo>
                        <a:pt x="298" y="77"/>
                      </a:lnTo>
                      <a:lnTo>
                        <a:pt x="199" y="7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8" name="Freeform 27"/>
                <p:cNvSpPr>
                  <a:spLocks/>
                </p:cNvSpPr>
                <p:nvPr/>
              </p:nvSpPr>
              <p:spPr bwMode="auto">
                <a:xfrm>
                  <a:off x="5496163" y="3927804"/>
                  <a:ext cx="73333" cy="69333"/>
                </a:xfrm>
                <a:custGeom>
                  <a:avLst/>
                  <a:gdLst>
                    <a:gd name="T0" fmla="*/ 0 w 110"/>
                    <a:gd name="T1" fmla="*/ 0 h 104"/>
                    <a:gd name="T2" fmla="*/ 5 w 110"/>
                    <a:gd name="T3" fmla="*/ 77 h 104"/>
                    <a:gd name="T4" fmla="*/ 77 w 110"/>
                    <a:gd name="T5" fmla="*/ 104 h 104"/>
                    <a:gd name="T6" fmla="*/ 110 w 110"/>
                    <a:gd name="T7" fmla="*/ 77 h 104"/>
                    <a:gd name="T8" fmla="*/ 0 w 110"/>
                    <a:gd name="T9" fmla="*/ 0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0" h="104">
                      <a:moveTo>
                        <a:pt x="0" y="0"/>
                      </a:moveTo>
                      <a:lnTo>
                        <a:pt x="5" y="77"/>
                      </a:lnTo>
                      <a:lnTo>
                        <a:pt x="77" y="104"/>
                      </a:lnTo>
                      <a:lnTo>
                        <a:pt x="110" y="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99" name="Freeform 28"/>
                <p:cNvSpPr>
                  <a:spLocks/>
                </p:cNvSpPr>
                <p:nvPr/>
              </p:nvSpPr>
              <p:spPr bwMode="auto">
                <a:xfrm>
                  <a:off x="5569496" y="4023137"/>
                  <a:ext cx="48000" cy="33333"/>
                </a:xfrm>
                <a:custGeom>
                  <a:avLst/>
                  <a:gdLst>
                    <a:gd name="T0" fmla="*/ 6 w 72"/>
                    <a:gd name="T1" fmla="*/ 17 h 50"/>
                    <a:gd name="T2" fmla="*/ 0 w 72"/>
                    <a:gd name="T3" fmla="*/ 50 h 50"/>
                    <a:gd name="T4" fmla="*/ 72 w 72"/>
                    <a:gd name="T5" fmla="*/ 50 h 50"/>
                    <a:gd name="T6" fmla="*/ 55 w 72"/>
                    <a:gd name="T7" fmla="*/ 0 h 50"/>
                    <a:gd name="T8" fmla="*/ 6 w 72"/>
                    <a:gd name="T9" fmla="*/ 1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2" h="50">
                      <a:moveTo>
                        <a:pt x="6" y="17"/>
                      </a:moveTo>
                      <a:lnTo>
                        <a:pt x="0" y="50"/>
                      </a:lnTo>
                      <a:lnTo>
                        <a:pt x="72" y="50"/>
                      </a:lnTo>
                      <a:lnTo>
                        <a:pt x="55" y="0"/>
                      </a:lnTo>
                      <a:lnTo>
                        <a:pt x="6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0" name="Freeform 29"/>
                <p:cNvSpPr>
                  <a:spLocks/>
                </p:cNvSpPr>
                <p:nvPr/>
              </p:nvSpPr>
              <p:spPr bwMode="auto">
                <a:xfrm>
                  <a:off x="5452163" y="3850470"/>
                  <a:ext cx="66000" cy="40667"/>
                </a:xfrm>
                <a:custGeom>
                  <a:avLst/>
                  <a:gdLst>
                    <a:gd name="T0" fmla="*/ 27 w 99"/>
                    <a:gd name="T1" fmla="*/ 0 h 61"/>
                    <a:gd name="T2" fmla="*/ 0 w 99"/>
                    <a:gd name="T3" fmla="*/ 33 h 61"/>
                    <a:gd name="T4" fmla="*/ 71 w 99"/>
                    <a:gd name="T5" fmla="*/ 61 h 61"/>
                    <a:gd name="T6" fmla="*/ 99 w 99"/>
                    <a:gd name="T7" fmla="*/ 0 h 61"/>
                    <a:gd name="T8" fmla="*/ 27 w 99"/>
                    <a:gd name="T9" fmla="*/ 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9" h="61">
                      <a:moveTo>
                        <a:pt x="27" y="0"/>
                      </a:moveTo>
                      <a:lnTo>
                        <a:pt x="0" y="33"/>
                      </a:lnTo>
                      <a:lnTo>
                        <a:pt x="71" y="61"/>
                      </a:lnTo>
                      <a:lnTo>
                        <a:pt x="99" y="0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01" name="Freeform 30"/>
                <p:cNvSpPr>
                  <a:spLocks/>
                </p:cNvSpPr>
                <p:nvPr/>
              </p:nvSpPr>
              <p:spPr bwMode="auto">
                <a:xfrm>
                  <a:off x="5228163" y="3743804"/>
                  <a:ext cx="84000" cy="58667"/>
                </a:xfrm>
                <a:custGeom>
                  <a:avLst/>
                  <a:gdLst>
                    <a:gd name="T0" fmla="*/ 82 w 126"/>
                    <a:gd name="T1" fmla="*/ 0 h 88"/>
                    <a:gd name="T2" fmla="*/ 0 w 126"/>
                    <a:gd name="T3" fmla="*/ 33 h 88"/>
                    <a:gd name="T4" fmla="*/ 88 w 126"/>
                    <a:gd name="T5" fmla="*/ 88 h 88"/>
                    <a:gd name="T6" fmla="*/ 126 w 126"/>
                    <a:gd name="T7" fmla="*/ 39 h 88"/>
                    <a:gd name="T8" fmla="*/ 82 w 126"/>
                    <a:gd name="T9" fmla="*/ 0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6" h="88">
                      <a:moveTo>
                        <a:pt x="82" y="0"/>
                      </a:moveTo>
                      <a:lnTo>
                        <a:pt x="0" y="33"/>
                      </a:lnTo>
                      <a:lnTo>
                        <a:pt x="88" y="88"/>
                      </a:lnTo>
                      <a:lnTo>
                        <a:pt x="126" y="39"/>
                      </a:lnTo>
                      <a:lnTo>
                        <a:pt x="8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268" name="Gruppieren 267"/>
          <p:cNvGrpSpPr/>
          <p:nvPr/>
        </p:nvGrpSpPr>
        <p:grpSpPr>
          <a:xfrm>
            <a:off x="8907865" y="3068950"/>
            <a:ext cx="2160000" cy="1889392"/>
            <a:chOff x="8835799" y="2825896"/>
            <a:chExt cx="2160000" cy="1889392"/>
          </a:xfrm>
        </p:grpSpPr>
        <p:grpSp>
          <p:nvGrpSpPr>
            <p:cNvPr id="208" name="Gruppieren 207"/>
            <p:cNvGrpSpPr/>
            <p:nvPr/>
          </p:nvGrpSpPr>
          <p:grpSpPr>
            <a:xfrm>
              <a:off x="10131623" y="4351955"/>
              <a:ext cx="250001" cy="363333"/>
              <a:chOff x="10131623" y="4351955"/>
              <a:chExt cx="250001" cy="363333"/>
            </a:xfrm>
          </p:grpSpPr>
          <p:sp>
            <p:nvSpPr>
              <p:cNvPr id="91" name="Oval 32"/>
              <p:cNvSpPr>
                <a:spLocks noChangeArrowheads="1"/>
              </p:cNvSpPr>
              <p:nvPr/>
            </p:nvSpPr>
            <p:spPr bwMode="auto">
              <a:xfrm>
                <a:off x="10131623" y="4641955"/>
                <a:ext cx="74000" cy="733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2" name="Oval 33"/>
              <p:cNvSpPr>
                <a:spLocks noChangeArrowheads="1"/>
              </p:cNvSpPr>
              <p:nvPr/>
            </p:nvSpPr>
            <p:spPr bwMode="auto">
              <a:xfrm>
                <a:off x="10190290" y="4520621"/>
                <a:ext cx="96000" cy="993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3" name="Oval 34"/>
              <p:cNvSpPr>
                <a:spLocks noChangeArrowheads="1"/>
              </p:cNvSpPr>
              <p:nvPr/>
            </p:nvSpPr>
            <p:spPr bwMode="auto">
              <a:xfrm>
                <a:off x="10234957" y="4351955"/>
                <a:ext cx="146667" cy="14666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9" name="Gruppieren 208"/>
            <p:cNvGrpSpPr>
              <a:grpSpLocks noChangeAspect="1"/>
            </p:cNvGrpSpPr>
            <p:nvPr/>
          </p:nvGrpSpPr>
          <p:grpSpPr>
            <a:xfrm>
              <a:off x="8835799" y="2825896"/>
              <a:ext cx="2160000" cy="1611216"/>
              <a:chOff x="9058800" y="3141288"/>
              <a:chExt cx="1721333" cy="1284000"/>
            </a:xfrm>
          </p:grpSpPr>
          <p:sp>
            <p:nvSpPr>
              <p:cNvPr id="210" name="Freeform 35"/>
              <p:cNvSpPr>
                <a:spLocks/>
              </p:cNvSpPr>
              <p:nvPr/>
            </p:nvSpPr>
            <p:spPr bwMode="auto">
              <a:xfrm>
                <a:off x="9058800" y="3141288"/>
                <a:ext cx="1721333" cy="1284000"/>
              </a:xfrm>
              <a:custGeom>
                <a:avLst/>
                <a:gdLst>
                  <a:gd name="T0" fmla="*/ 0 w 2582"/>
                  <a:gd name="T1" fmla="*/ 0 h 1926"/>
                  <a:gd name="T2" fmla="*/ 0 w 2582"/>
                  <a:gd name="T3" fmla="*/ 1926 h 1926"/>
                  <a:gd name="T4" fmla="*/ 2582 w 2582"/>
                  <a:gd name="T5" fmla="*/ 1926 h 1926"/>
                  <a:gd name="T6" fmla="*/ 2582 w 2582"/>
                  <a:gd name="T7" fmla="*/ 0 h 1926"/>
                  <a:gd name="T8" fmla="*/ 0 w 2582"/>
                  <a:gd name="T9" fmla="*/ 0 h 1926"/>
                  <a:gd name="T10" fmla="*/ 0 w 2582"/>
                  <a:gd name="T11" fmla="*/ 0 h 1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82" h="1926">
                    <a:moveTo>
                      <a:pt x="0" y="0"/>
                    </a:moveTo>
                    <a:lnTo>
                      <a:pt x="0" y="1926"/>
                    </a:lnTo>
                    <a:lnTo>
                      <a:pt x="2582" y="1926"/>
                    </a:lnTo>
                    <a:lnTo>
                      <a:pt x="258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1" name="Freeform 36"/>
              <p:cNvSpPr>
                <a:spLocks/>
              </p:cNvSpPr>
              <p:nvPr/>
            </p:nvSpPr>
            <p:spPr bwMode="auto">
              <a:xfrm>
                <a:off x="9345467" y="3390621"/>
                <a:ext cx="238667" cy="598000"/>
              </a:xfrm>
              <a:custGeom>
                <a:avLst/>
                <a:gdLst>
                  <a:gd name="T0" fmla="*/ 27 w 358"/>
                  <a:gd name="T1" fmla="*/ 897 h 897"/>
                  <a:gd name="T2" fmla="*/ 0 w 358"/>
                  <a:gd name="T3" fmla="*/ 886 h 897"/>
                  <a:gd name="T4" fmla="*/ 330 w 358"/>
                  <a:gd name="T5" fmla="*/ 0 h 897"/>
                  <a:gd name="T6" fmla="*/ 358 w 358"/>
                  <a:gd name="T7" fmla="*/ 6 h 897"/>
                  <a:gd name="T8" fmla="*/ 27 w 358"/>
                  <a:gd name="T9" fmla="*/ 897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8" h="897">
                    <a:moveTo>
                      <a:pt x="27" y="897"/>
                    </a:moveTo>
                    <a:lnTo>
                      <a:pt x="0" y="886"/>
                    </a:lnTo>
                    <a:lnTo>
                      <a:pt x="330" y="0"/>
                    </a:lnTo>
                    <a:lnTo>
                      <a:pt x="358" y="6"/>
                    </a:lnTo>
                    <a:lnTo>
                      <a:pt x="27" y="897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2" name="Freeform 37"/>
              <p:cNvSpPr>
                <a:spLocks/>
              </p:cNvSpPr>
              <p:nvPr/>
            </p:nvSpPr>
            <p:spPr bwMode="auto">
              <a:xfrm>
                <a:off x="9569467" y="3383288"/>
                <a:ext cx="25333" cy="29333"/>
              </a:xfrm>
              <a:custGeom>
                <a:avLst/>
                <a:gdLst>
                  <a:gd name="T0" fmla="*/ 22 w 38"/>
                  <a:gd name="T1" fmla="*/ 44 h 44"/>
                  <a:gd name="T2" fmla="*/ 0 w 38"/>
                  <a:gd name="T3" fmla="*/ 28 h 44"/>
                  <a:gd name="T4" fmla="*/ 16 w 38"/>
                  <a:gd name="T5" fmla="*/ 0 h 44"/>
                  <a:gd name="T6" fmla="*/ 38 w 38"/>
                  <a:gd name="T7" fmla="*/ 17 h 44"/>
                  <a:gd name="T8" fmla="*/ 22 w 38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4">
                    <a:moveTo>
                      <a:pt x="22" y="44"/>
                    </a:moveTo>
                    <a:lnTo>
                      <a:pt x="0" y="28"/>
                    </a:lnTo>
                    <a:lnTo>
                      <a:pt x="16" y="0"/>
                    </a:lnTo>
                    <a:lnTo>
                      <a:pt x="38" y="17"/>
                    </a:lnTo>
                    <a:lnTo>
                      <a:pt x="22" y="44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3" name="Freeform 38"/>
              <p:cNvSpPr>
                <a:spLocks noEditPoints="1"/>
              </p:cNvSpPr>
              <p:nvPr/>
            </p:nvSpPr>
            <p:spPr bwMode="auto">
              <a:xfrm>
                <a:off x="9613467" y="3419955"/>
                <a:ext cx="469333" cy="348667"/>
              </a:xfrm>
              <a:custGeom>
                <a:avLst/>
                <a:gdLst>
                  <a:gd name="T0" fmla="*/ 688 w 704"/>
                  <a:gd name="T1" fmla="*/ 523 h 523"/>
                  <a:gd name="T2" fmla="*/ 638 w 704"/>
                  <a:gd name="T3" fmla="*/ 490 h 523"/>
                  <a:gd name="T4" fmla="*/ 660 w 704"/>
                  <a:gd name="T5" fmla="*/ 463 h 523"/>
                  <a:gd name="T6" fmla="*/ 704 w 704"/>
                  <a:gd name="T7" fmla="*/ 496 h 523"/>
                  <a:gd name="T8" fmla="*/ 688 w 704"/>
                  <a:gd name="T9" fmla="*/ 523 h 523"/>
                  <a:gd name="T10" fmla="*/ 594 w 704"/>
                  <a:gd name="T11" fmla="*/ 457 h 523"/>
                  <a:gd name="T12" fmla="*/ 550 w 704"/>
                  <a:gd name="T13" fmla="*/ 419 h 523"/>
                  <a:gd name="T14" fmla="*/ 567 w 704"/>
                  <a:gd name="T15" fmla="*/ 397 h 523"/>
                  <a:gd name="T16" fmla="*/ 611 w 704"/>
                  <a:gd name="T17" fmla="*/ 430 h 523"/>
                  <a:gd name="T18" fmla="*/ 594 w 704"/>
                  <a:gd name="T19" fmla="*/ 457 h 523"/>
                  <a:gd name="T20" fmla="*/ 506 w 704"/>
                  <a:gd name="T21" fmla="*/ 386 h 523"/>
                  <a:gd name="T22" fmla="*/ 456 w 704"/>
                  <a:gd name="T23" fmla="*/ 353 h 523"/>
                  <a:gd name="T24" fmla="*/ 473 w 704"/>
                  <a:gd name="T25" fmla="*/ 331 h 523"/>
                  <a:gd name="T26" fmla="*/ 523 w 704"/>
                  <a:gd name="T27" fmla="*/ 364 h 523"/>
                  <a:gd name="T28" fmla="*/ 506 w 704"/>
                  <a:gd name="T29" fmla="*/ 386 h 523"/>
                  <a:gd name="T30" fmla="*/ 412 w 704"/>
                  <a:gd name="T31" fmla="*/ 320 h 523"/>
                  <a:gd name="T32" fmla="*/ 368 w 704"/>
                  <a:gd name="T33" fmla="*/ 287 h 523"/>
                  <a:gd name="T34" fmla="*/ 385 w 704"/>
                  <a:gd name="T35" fmla="*/ 264 h 523"/>
                  <a:gd name="T36" fmla="*/ 429 w 704"/>
                  <a:gd name="T37" fmla="*/ 298 h 523"/>
                  <a:gd name="T38" fmla="*/ 412 w 704"/>
                  <a:gd name="T39" fmla="*/ 320 h 523"/>
                  <a:gd name="T40" fmla="*/ 319 w 704"/>
                  <a:gd name="T41" fmla="*/ 253 h 523"/>
                  <a:gd name="T42" fmla="*/ 275 w 704"/>
                  <a:gd name="T43" fmla="*/ 220 h 523"/>
                  <a:gd name="T44" fmla="*/ 291 w 704"/>
                  <a:gd name="T45" fmla="*/ 198 h 523"/>
                  <a:gd name="T46" fmla="*/ 341 w 704"/>
                  <a:gd name="T47" fmla="*/ 231 h 523"/>
                  <a:gd name="T48" fmla="*/ 319 w 704"/>
                  <a:gd name="T49" fmla="*/ 253 h 523"/>
                  <a:gd name="T50" fmla="*/ 231 w 704"/>
                  <a:gd name="T51" fmla="*/ 187 h 523"/>
                  <a:gd name="T52" fmla="*/ 187 w 704"/>
                  <a:gd name="T53" fmla="*/ 154 h 523"/>
                  <a:gd name="T54" fmla="*/ 203 w 704"/>
                  <a:gd name="T55" fmla="*/ 132 h 523"/>
                  <a:gd name="T56" fmla="*/ 247 w 704"/>
                  <a:gd name="T57" fmla="*/ 165 h 523"/>
                  <a:gd name="T58" fmla="*/ 231 w 704"/>
                  <a:gd name="T59" fmla="*/ 187 h 523"/>
                  <a:gd name="T60" fmla="*/ 137 w 704"/>
                  <a:gd name="T61" fmla="*/ 121 h 523"/>
                  <a:gd name="T62" fmla="*/ 93 w 704"/>
                  <a:gd name="T63" fmla="*/ 88 h 523"/>
                  <a:gd name="T64" fmla="*/ 110 w 704"/>
                  <a:gd name="T65" fmla="*/ 66 h 523"/>
                  <a:gd name="T66" fmla="*/ 154 w 704"/>
                  <a:gd name="T67" fmla="*/ 99 h 523"/>
                  <a:gd name="T68" fmla="*/ 137 w 704"/>
                  <a:gd name="T69" fmla="*/ 121 h 523"/>
                  <a:gd name="T70" fmla="*/ 49 w 704"/>
                  <a:gd name="T71" fmla="*/ 55 h 523"/>
                  <a:gd name="T72" fmla="*/ 0 w 704"/>
                  <a:gd name="T73" fmla="*/ 22 h 523"/>
                  <a:gd name="T74" fmla="*/ 22 w 704"/>
                  <a:gd name="T75" fmla="*/ 0 h 523"/>
                  <a:gd name="T76" fmla="*/ 66 w 704"/>
                  <a:gd name="T77" fmla="*/ 33 h 523"/>
                  <a:gd name="T78" fmla="*/ 49 w 704"/>
                  <a:gd name="T79" fmla="*/ 55 h 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04" h="523">
                    <a:moveTo>
                      <a:pt x="688" y="523"/>
                    </a:moveTo>
                    <a:lnTo>
                      <a:pt x="638" y="490"/>
                    </a:lnTo>
                    <a:lnTo>
                      <a:pt x="660" y="463"/>
                    </a:lnTo>
                    <a:lnTo>
                      <a:pt x="704" y="496"/>
                    </a:lnTo>
                    <a:lnTo>
                      <a:pt x="688" y="523"/>
                    </a:lnTo>
                    <a:close/>
                    <a:moveTo>
                      <a:pt x="594" y="457"/>
                    </a:moveTo>
                    <a:lnTo>
                      <a:pt x="550" y="419"/>
                    </a:lnTo>
                    <a:lnTo>
                      <a:pt x="567" y="397"/>
                    </a:lnTo>
                    <a:lnTo>
                      <a:pt x="611" y="430"/>
                    </a:lnTo>
                    <a:lnTo>
                      <a:pt x="594" y="457"/>
                    </a:lnTo>
                    <a:close/>
                    <a:moveTo>
                      <a:pt x="506" y="386"/>
                    </a:moveTo>
                    <a:lnTo>
                      <a:pt x="456" y="353"/>
                    </a:lnTo>
                    <a:lnTo>
                      <a:pt x="473" y="331"/>
                    </a:lnTo>
                    <a:lnTo>
                      <a:pt x="523" y="364"/>
                    </a:lnTo>
                    <a:lnTo>
                      <a:pt x="506" y="386"/>
                    </a:lnTo>
                    <a:close/>
                    <a:moveTo>
                      <a:pt x="412" y="320"/>
                    </a:moveTo>
                    <a:lnTo>
                      <a:pt x="368" y="287"/>
                    </a:lnTo>
                    <a:lnTo>
                      <a:pt x="385" y="264"/>
                    </a:lnTo>
                    <a:lnTo>
                      <a:pt x="429" y="298"/>
                    </a:lnTo>
                    <a:lnTo>
                      <a:pt x="412" y="320"/>
                    </a:lnTo>
                    <a:close/>
                    <a:moveTo>
                      <a:pt x="319" y="253"/>
                    </a:moveTo>
                    <a:lnTo>
                      <a:pt x="275" y="220"/>
                    </a:lnTo>
                    <a:lnTo>
                      <a:pt x="291" y="198"/>
                    </a:lnTo>
                    <a:lnTo>
                      <a:pt x="341" y="231"/>
                    </a:lnTo>
                    <a:lnTo>
                      <a:pt x="319" y="253"/>
                    </a:lnTo>
                    <a:close/>
                    <a:moveTo>
                      <a:pt x="231" y="187"/>
                    </a:moveTo>
                    <a:lnTo>
                      <a:pt x="187" y="154"/>
                    </a:lnTo>
                    <a:lnTo>
                      <a:pt x="203" y="132"/>
                    </a:lnTo>
                    <a:lnTo>
                      <a:pt x="247" y="165"/>
                    </a:lnTo>
                    <a:lnTo>
                      <a:pt x="231" y="187"/>
                    </a:lnTo>
                    <a:close/>
                    <a:moveTo>
                      <a:pt x="137" y="121"/>
                    </a:moveTo>
                    <a:lnTo>
                      <a:pt x="93" y="88"/>
                    </a:lnTo>
                    <a:lnTo>
                      <a:pt x="110" y="66"/>
                    </a:lnTo>
                    <a:lnTo>
                      <a:pt x="154" y="99"/>
                    </a:lnTo>
                    <a:lnTo>
                      <a:pt x="137" y="121"/>
                    </a:lnTo>
                    <a:close/>
                    <a:moveTo>
                      <a:pt x="49" y="55"/>
                    </a:moveTo>
                    <a:lnTo>
                      <a:pt x="0" y="22"/>
                    </a:lnTo>
                    <a:lnTo>
                      <a:pt x="22" y="0"/>
                    </a:lnTo>
                    <a:lnTo>
                      <a:pt x="66" y="33"/>
                    </a:lnTo>
                    <a:lnTo>
                      <a:pt x="49" y="55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4" name="Freeform 39"/>
              <p:cNvSpPr>
                <a:spLocks/>
              </p:cNvSpPr>
              <p:nvPr/>
            </p:nvSpPr>
            <p:spPr bwMode="auto">
              <a:xfrm>
                <a:off x="10101466" y="3772621"/>
                <a:ext cx="25333" cy="29333"/>
              </a:xfrm>
              <a:custGeom>
                <a:avLst/>
                <a:gdLst>
                  <a:gd name="T0" fmla="*/ 22 w 38"/>
                  <a:gd name="T1" fmla="*/ 44 h 44"/>
                  <a:gd name="T2" fmla="*/ 0 w 38"/>
                  <a:gd name="T3" fmla="*/ 27 h 44"/>
                  <a:gd name="T4" fmla="*/ 16 w 38"/>
                  <a:gd name="T5" fmla="*/ 0 h 44"/>
                  <a:gd name="T6" fmla="*/ 38 w 38"/>
                  <a:gd name="T7" fmla="*/ 22 h 44"/>
                  <a:gd name="T8" fmla="*/ 22 w 38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4">
                    <a:moveTo>
                      <a:pt x="22" y="44"/>
                    </a:moveTo>
                    <a:lnTo>
                      <a:pt x="0" y="27"/>
                    </a:lnTo>
                    <a:lnTo>
                      <a:pt x="16" y="0"/>
                    </a:lnTo>
                    <a:lnTo>
                      <a:pt x="38" y="22"/>
                    </a:lnTo>
                    <a:lnTo>
                      <a:pt x="22" y="44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5" name="Freeform 40"/>
              <p:cNvSpPr>
                <a:spLocks/>
              </p:cNvSpPr>
              <p:nvPr/>
            </p:nvSpPr>
            <p:spPr bwMode="auto">
              <a:xfrm>
                <a:off x="9572800" y="3372621"/>
                <a:ext cx="712000" cy="95334"/>
              </a:xfrm>
              <a:custGeom>
                <a:avLst/>
                <a:gdLst>
                  <a:gd name="T0" fmla="*/ 1068 w 1068"/>
                  <a:gd name="T1" fmla="*/ 88 h 143"/>
                  <a:gd name="T2" fmla="*/ 716 w 1068"/>
                  <a:gd name="T3" fmla="*/ 60 h 143"/>
                  <a:gd name="T4" fmla="*/ 622 w 1068"/>
                  <a:gd name="T5" fmla="*/ 0 h 143"/>
                  <a:gd name="T6" fmla="*/ 617 w 1068"/>
                  <a:gd name="T7" fmla="*/ 55 h 143"/>
                  <a:gd name="T8" fmla="*/ 578 w 1068"/>
                  <a:gd name="T9" fmla="*/ 55 h 143"/>
                  <a:gd name="T10" fmla="*/ 578 w 1068"/>
                  <a:gd name="T11" fmla="*/ 55 h 143"/>
                  <a:gd name="T12" fmla="*/ 6 w 1068"/>
                  <a:gd name="T13" fmla="*/ 16 h 143"/>
                  <a:gd name="T14" fmla="*/ 0 w 1068"/>
                  <a:gd name="T15" fmla="*/ 44 h 143"/>
                  <a:gd name="T16" fmla="*/ 617 w 1068"/>
                  <a:gd name="T17" fmla="*/ 88 h 143"/>
                  <a:gd name="T18" fmla="*/ 611 w 1068"/>
                  <a:gd name="T19" fmla="*/ 143 h 143"/>
                  <a:gd name="T20" fmla="*/ 721 w 1068"/>
                  <a:gd name="T21" fmla="*/ 93 h 143"/>
                  <a:gd name="T22" fmla="*/ 1068 w 1068"/>
                  <a:gd name="T23" fmla="*/ 115 h 143"/>
                  <a:gd name="T24" fmla="*/ 1068 w 1068"/>
                  <a:gd name="T25" fmla="*/ 8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68" h="143">
                    <a:moveTo>
                      <a:pt x="1068" y="88"/>
                    </a:moveTo>
                    <a:lnTo>
                      <a:pt x="716" y="60"/>
                    </a:lnTo>
                    <a:lnTo>
                      <a:pt x="622" y="0"/>
                    </a:lnTo>
                    <a:lnTo>
                      <a:pt x="617" y="55"/>
                    </a:lnTo>
                    <a:lnTo>
                      <a:pt x="578" y="55"/>
                    </a:lnTo>
                    <a:lnTo>
                      <a:pt x="578" y="55"/>
                    </a:lnTo>
                    <a:lnTo>
                      <a:pt x="6" y="16"/>
                    </a:lnTo>
                    <a:lnTo>
                      <a:pt x="0" y="44"/>
                    </a:lnTo>
                    <a:lnTo>
                      <a:pt x="617" y="88"/>
                    </a:lnTo>
                    <a:lnTo>
                      <a:pt x="611" y="143"/>
                    </a:lnTo>
                    <a:lnTo>
                      <a:pt x="721" y="93"/>
                    </a:lnTo>
                    <a:lnTo>
                      <a:pt x="1068" y="115"/>
                    </a:lnTo>
                    <a:lnTo>
                      <a:pt x="1068" y="88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6" name="Freeform 41"/>
              <p:cNvSpPr>
                <a:spLocks/>
              </p:cNvSpPr>
              <p:nvPr/>
            </p:nvSpPr>
            <p:spPr bwMode="auto">
              <a:xfrm>
                <a:off x="10277466" y="3438621"/>
                <a:ext cx="249333" cy="550000"/>
              </a:xfrm>
              <a:custGeom>
                <a:avLst/>
                <a:gdLst>
                  <a:gd name="T0" fmla="*/ 347 w 374"/>
                  <a:gd name="T1" fmla="*/ 825 h 825"/>
                  <a:gd name="T2" fmla="*/ 0 w 374"/>
                  <a:gd name="T3" fmla="*/ 11 h 825"/>
                  <a:gd name="T4" fmla="*/ 27 w 374"/>
                  <a:gd name="T5" fmla="*/ 0 h 825"/>
                  <a:gd name="T6" fmla="*/ 374 w 374"/>
                  <a:gd name="T7" fmla="*/ 814 h 825"/>
                  <a:gd name="T8" fmla="*/ 347 w 374"/>
                  <a:gd name="T9" fmla="*/ 825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4" h="825">
                    <a:moveTo>
                      <a:pt x="347" y="825"/>
                    </a:moveTo>
                    <a:lnTo>
                      <a:pt x="0" y="11"/>
                    </a:lnTo>
                    <a:lnTo>
                      <a:pt x="27" y="0"/>
                    </a:lnTo>
                    <a:lnTo>
                      <a:pt x="374" y="814"/>
                    </a:lnTo>
                    <a:lnTo>
                      <a:pt x="347" y="825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7" name="Freeform 42"/>
              <p:cNvSpPr>
                <a:spLocks/>
              </p:cNvSpPr>
              <p:nvPr/>
            </p:nvSpPr>
            <p:spPr bwMode="auto">
              <a:xfrm>
                <a:off x="10123466" y="3419955"/>
                <a:ext cx="172000" cy="385333"/>
              </a:xfrm>
              <a:custGeom>
                <a:avLst/>
                <a:gdLst>
                  <a:gd name="T0" fmla="*/ 27 w 258"/>
                  <a:gd name="T1" fmla="*/ 578 h 578"/>
                  <a:gd name="T2" fmla="*/ 0 w 258"/>
                  <a:gd name="T3" fmla="*/ 567 h 578"/>
                  <a:gd name="T4" fmla="*/ 231 w 258"/>
                  <a:gd name="T5" fmla="*/ 0 h 578"/>
                  <a:gd name="T6" fmla="*/ 258 w 258"/>
                  <a:gd name="T7" fmla="*/ 11 h 578"/>
                  <a:gd name="T8" fmla="*/ 27 w 258"/>
                  <a:gd name="T9" fmla="*/ 578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578">
                    <a:moveTo>
                      <a:pt x="27" y="578"/>
                    </a:moveTo>
                    <a:lnTo>
                      <a:pt x="0" y="567"/>
                    </a:lnTo>
                    <a:lnTo>
                      <a:pt x="231" y="0"/>
                    </a:lnTo>
                    <a:lnTo>
                      <a:pt x="258" y="11"/>
                    </a:lnTo>
                    <a:lnTo>
                      <a:pt x="27" y="578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8" name="Freeform 43"/>
              <p:cNvSpPr>
                <a:spLocks/>
              </p:cNvSpPr>
              <p:nvPr/>
            </p:nvSpPr>
            <p:spPr bwMode="auto">
              <a:xfrm>
                <a:off x="9704800" y="3419955"/>
                <a:ext cx="605333" cy="294000"/>
              </a:xfrm>
              <a:custGeom>
                <a:avLst/>
                <a:gdLst>
                  <a:gd name="T0" fmla="*/ 430 w 908"/>
                  <a:gd name="T1" fmla="*/ 248 h 441"/>
                  <a:gd name="T2" fmla="*/ 908 w 908"/>
                  <a:gd name="T3" fmla="*/ 28 h 441"/>
                  <a:gd name="T4" fmla="*/ 897 w 908"/>
                  <a:gd name="T5" fmla="*/ 0 h 441"/>
                  <a:gd name="T6" fmla="*/ 413 w 908"/>
                  <a:gd name="T7" fmla="*/ 220 h 441"/>
                  <a:gd name="T8" fmla="*/ 391 w 908"/>
                  <a:gd name="T9" fmla="*/ 165 h 441"/>
                  <a:gd name="T10" fmla="*/ 319 w 908"/>
                  <a:gd name="T11" fmla="*/ 264 h 441"/>
                  <a:gd name="T12" fmla="*/ 0 w 908"/>
                  <a:gd name="T13" fmla="*/ 413 h 441"/>
                  <a:gd name="T14" fmla="*/ 17 w 908"/>
                  <a:gd name="T15" fmla="*/ 441 h 441"/>
                  <a:gd name="T16" fmla="*/ 342 w 908"/>
                  <a:gd name="T17" fmla="*/ 292 h 441"/>
                  <a:gd name="T18" fmla="*/ 452 w 908"/>
                  <a:gd name="T19" fmla="*/ 298 h 441"/>
                  <a:gd name="T20" fmla="*/ 430 w 908"/>
                  <a:gd name="T21" fmla="*/ 248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08" h="441">
                    <a:moveTo>
                      <a:pt x="430" y="248"/>
                    </a:moveTo>
                    <a:lnTo>
                      <a:pt x="908" y="28"/>
                    </a:lnTo>
                    <a:lnTo>
                      <a:pt x="897" y="0"/>
                    </a:lnTo>
                    <a:lnTo>
                      <a:pt x="413" y="220"/>
                    </a:lnTo>
                    <a:lnTo>
                      <a:pt x="391" y="165"/>
                    </a:lnTo>
                    <a:lnTo>
                      <a:pt x="319" y="264"/>
                    </a:lnTo>
                    <a:lnTo>
                      <a:pt x="0" y="413"/>
                    </a:lnTo>
                    <a:lnTo>
                      <a:pt x="17" y="441"/>
                    </a:lnTo>
                    <a:lnTo>
                      <a:pt x="342" y="292"/>
                    </a:lnTo>
                    <a:lnTo>
                      <a:pt x="452" y="298"/>
                    </a:lnTo>
                    <a:lnTo>
                      <a:pt x="430" y="248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9" name="Freeform 44"/>
              <p:cNvSpPr>
                <a:spLocks/>
              </p:cNvSpPr>
              <p:nvPr/>
            </p:nvSpPr>
            <p:spPr bwMode="auto">
              <a:xfrm>
                <a:off x="9338133" y="3684621"/>
                <a:ext cx="400000" cy="315334"/>
              </a:xfrm>
              <a:custGeom>
                <a:avLst/>
                <a:gdLst>
                  <a:gd name="T0" fmla="*/ 16 w 600"/>
                  <a:gd name="T1" fmla="*/ 473 h 473"/>
                  <a:gd name="T2" fmla="*/ 0 w 600"/>
                  <a:gd name="T3" fmla="*/ 451 h 473"/>
                  <a:gd name="T4" fmla="*/ 583 w 600"/>
                  <a:gd name="T5" fmla="*/ 0 h 473"/>
                  <a:gd name="T6" fmla="*/ 600 w 600"/>
                  <a:gd name="T7" fmla="*/ 27 h 473"/>
                  <a:gd name="T8" fmla="*/ 16 w 600"/>
                  <a:gd name="T9" fmla="*/ 47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0" h="473">
                    <a:moveTo>
                      <a:pt x="16" y="473"/>
                    </a:moveTo>
                    <a:lnTo>
                      <a:pt x="0" y="451"/>
                    </a:lnTo>
                    <a:lnTo>
                      <a:pt x="583" y="0"/>
                    </a:lnTo>
                    <a:lnTo>
                      <a:pt x="600" y="27"/>
                    </a:lnTo>
                    <a:lnTo>
                      <a:pt x="16" y="473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0" name="Freeform 45"/>
              <p:cNvSpPr>
                <a:spLocks/>
              </p:cNvSpPr>
              <p:nvPr/>
            </p:nvSpPr>
            <p:spPr bwMode="auto">
              <a:xfrm>
                <a:off x="9356133" y="3783288"/>
                <a:ext cx="770667" cy="227334"/>
              </a:xfrm>
              <a:custGeom>
                <a:avLst/>
                <a:gdLst>
                  <a:gd name="T0" fmla="*/ 589 w 1156"/>
                  <a:gd name="T1" fmla="*/ 182 h 341"/>
                  <a:gd name="T2" fmla="*/ 1156 w 1156"/>
                  <a:gd name="T3" fmla="*/ 28 h 341"/>
                  <a:gd name="T4" fmla="*/ 1145 w 1156"/>
                  <a:gd name="T5" fmla="*/ 0 h 341"/>
                  <a:gd name="T6" fmla="*/ 578 w 1156"/>
                  <a:gd name="T7" fmla="*/ 154 h 341"/>
                  <a:gd name="T8" fmla="*/ 567 w 1156"/>
                  <a:gd name="T9" fmla="*/ 99 h 341"/>
                  <a:gd name="T10" fmla="*/ 485 w 1156"/>
                  <a:gd name="T11" fmla="*/ 182 h 341"/>
                  <a:gd name="T12" fmla="*/ 0 w 1156"/>
                  <a:gd name="T13" fmla="*/ 314 h 341"/>
                  <a:gd name="T14" fmla="*/ 6 w 1156"/>
                  <a:gd name="T15" fmla="*/ 341 h 341"/>
                  <a:gd name="T16" fmla="*/ 490 w 1156"/>
                  <a:gd name="T17" fmla="*/ 209 h 341"/>
                  <a:gd name="T18" fmla="*/ 606 w 1156"/>
                  <a:gd name="T19" fmla="*/ 242 h 341"/>
                  <a:gd name="T20" fmla="*/ 589 w 1156"/>
                  <a:gd name="T21" fmla="*/ 182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56" h="341">
                    <a:moveTo>
                      <a:pt x="589" y="182"/>
                    </a:moveTo>
                    <a:lnTo>
                      <a:pt x="1156" y="28"/>
                    </a:lnTo>
                    <a:lnTo>
                      <a:pt x="1145" y="0"/>
                    </a:lnTo>
                    <a:lnTo>
                      <a:pt x="578" y="154"/>
                    </a:lnTo>
                    <a:lnTo>
                      <a:pt x="567" y="99"/>
                    </a:lnTo>
                    <a:lnTo>
                      <a:pt x="485" y="182"/>
                    </a:lnTo>
                    <a:lnTo>
                      <a:pt x="0" y="314"/>
                    </a:lnTo>
                    <a:lnTo>
                      <a:pt x="6" y="341"/>
                    </a:lnTo>
                    <a:lnTo>
                      <a:pt x="490" y="209"/>
                    </a:lnTo>
                    <a:lnTo>
                      <a:pt x="606" y="242"/>
                    </a:lnTo>
                    <a:lnTo>
                      <a:pt x="589" y="182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1" name="Rectangle 46"/>
              <p:cNvSpPr>
                <a:spLocks noChangeArrowheads="1"/>
              </p:cNvSpPr>
              <p:nvPr/>
            </p:nvSpPr>
            <p:spPr bwMode="auto">
              <a:xfrm>
                <a:off x="9345467" y="3981288"/>
                <a:ext cx="18000" cy="18667"/>
              </a:xfrm>
              <a:prstGeom prst="rect">
                <a:avLst/>
              </a:pr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2" name="Freeform 47"/>
              <p:cNvSpPr>
                <a:spLocks noEditPoints="1"/>
              </p:cNvSpPr>
              <p:nvPr/>
            </p:nvSpPr>
            <p:spPr bwMode="auto">
              <a:xfrm>
                <a:off x="9404133" y="3966621"/>
                <a:ext cx="1053333" cy="33333"/>
              </a:xfrm>
              <a:custGeom>
                <a:avLst/>
                <a:gdLst>
                  <a:gd name="T0" fmla="*/ 0 w 1580"/>
                  <a:gd name="T1" fmla="*/ 22 h 50"/>
                  <a:gd name="T2" fmla="*/ 55 w 1580"/>
                  <a:gd name="T3" fmla="*/ 50 h 50"/>
                  <a:gd name="T4" fmla="*/ 115 w 1580"/>
                  <a:gd name="T5" fmla="*/ 50 h 50"/>
                  <a:gd name="T6" fmla="*/ 176 w 1580"/>
                  <a:gd name="T7" fmla="*/ 17 h 50"/>
                  <a:gd name="T8" fmla="*/ 115 w 1580"/>
                  <a:gd name="T9" fmla="*/ 50 h 50"/>
                  <a:gd name="T10" fmla="*/ 231 w 1580"/>
                  <a:gd name="T11" fmla="*/ 17 h 50"/>
                  <a:gd name="T12" fmla="*/ 292 w 1580"/>
                  <a:gd name="T13" fmla="*/ 44 h 50"/>
                  <a:gd name="T14" fmla="*/ 352 w 1580"/>
                  <a:gd name="T15" fmla="*/ 44 h 50"/>
                  <a:gd name="T16" fmla="*/ 407 w 1580"/>
                  <a:gd name="T17" fmla="*/ 17 h 50"/>
                  <a:gd name="T18" fmla="*/ 352 w 1580"/>
                  <a:gd name="T19" fmla="*/ 44 h 50"/>
                  <a:gd name="T20" fmla="*/ 468 w 1580"/>
                  <a:gd name="T21" fmla="*/ 17 h 50"/>
                  <a:gd name="T22" fmla="*/ 528 w 1580"/>
                  <a:gd name="T23" fmla="*/ 44 h 50"/>
                  <a:gd name="T24" fmla="*/ 583 w 1580"/>
                  <a:gd name="T25" fmla="*/ 44 h 50"/>
                  <a:gd name="T26" fmla="*/ 644 w 1580"/>
                  <a:gd name="T27" fmla="*/ 11 h 50"/>
                  <a:gd name="T28" fmla="*/ 583 w 1580"/>
                  <a:gd name="T29" fmla="*/ 44 h 50"/>
                  <a:gd name="T30" fmla="*/ 699 w 1580"/>
                  <a:gd name="T31" fmla="*/ 11 h 50"/>
                  <a:gd name="T32" fmla="*/ 759 w 1580"/>
                  <a:gd name="T33" fmla="*/ 39 h 50"/>
                  <a:gd name="T34" fmla="*/ 820 w 1580"/>
                  <a:gd name="T35" fmla="*/ 39 h 50"/>
                  <a:gd name="T36" fmla="*/ 875 w 1580"/>
                  <a:gd name="T37" fmla="*/ 11 h 50"/>
                  <a:gd name="T38" fmla="*/ 820 w 1580"/>
                  <a:gd name="T39" fmla="*/ 39 h 50"/>
                  <a:gd name="T40" fmla="*/ 936 w 1580"/>
                  <a:gd name="T41" fmla="*/ 6 h 50"/>
                  <a:gd name="T42" fmla="*/ 996 w 1580"/>
                  <a:gd name="T43" fmla="*/ 39 h 50"/>
                  <a:gd name="T44" fmla="*/ 1051 w 1580"/>
                  <a:gd name="T45" fmla="*/ 33 h 50"/>
                  <a:gd name="T46" fmla="*/ 1112 w 1580"/>
                  <a:gd name="T47" fmla="*/ 6 h 50"/>
                  <a:gd name="T48" fmla="*/ 1051 w 1580"/>
                  <a:gd name="T49" fmla="*/ 33 h 50"/>
                  <a:gd name="T50" fmla="*/ 1172 w 1580"/>
                  <a:gd name="T51" fmla="*/ 6 h 50"/>
                  <a:gd name="T52" fmla="*/ 1227 w 1580"/>
                  <a:gd name="T53" fmla="*/ 33 h 50"/>
                  <a:gd name="T54" fmla="*/ 1288 w 1580"/>
                  <a:gd name="T55" fmla="*/ 33 h 50"/>
                  <a:gd name="T56" fmla="*/ 1343 w 1580"/>
                  <a:gd name="T57" fmla="*/ 0 h 50"/>
                  <a:gd name="T58" fmla="*/ 1288 w 1580"/>
                  <a:gd name="T59" fmla="*/ 33 h 50"/>
                  <a:gd name="T60" fmla="*/ 1404 w 1580"/>
                  <a:gd name="T61" fmla="*/ 0 h 50"/>
                  <a:gd name="T62" fmla="*/ 1464 w 1580"/>
                  <a:gd name="T63" fmla="*/ 28 h 50"/>
                  <a:gd name="T64" fmla="*/ 1519 w 1580"/>
                  <a:gd name="T65" fmla="*/ 28 h 50"/>
                  <a:gd name="T66" fmla="*/ 1580 w 1580"/>
                  <a:gd name="T67" fmla="*/ 0 h 50"/>
                  <a:gd name="T68" fmla="*/ 1519 w 1580"/>
                  <a:gd name="T69" fmla="*/ 2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80" h="50">
                    <a:moveTo>
                      <a:pt x="0" y="50"/>
                    </a:moveTo>
                    <a:lnTo>
                      <a:pt x="0" y="22"/>
                    </a:lnTo>
                    <a:lnTo>
                      <a:pt x="55" y="22"/>
                    </a:lnTo>
                    <a:lnTo>
                      <a:pt x="55" y="50"/>
                    </a:lnTo>
                    <a:lnTo>
                      <a:pt x="0" y="50"/>
                    </a:lnTo>
                    <a:close/>
                    <a:moveTo>
                      <a:pt x="115" y="50"/>
                    </a:moveTo>
                    <a:lnTo>
                      <a:pt x="115" y="22"/>
                    </a:lnTo>
                    <a:lnTo>
                      <a:pt x="176" y="17"/>
                    </a:lnTo>
                    <a:lnTo>
                      <a:pt x="176" y="50"/>
                    </a:lnTo>
                    <a:lnTo>
                      <a:pt x="115" y="50"/>
                    </a:lnTo>
                    <a:close/>
                    <a:moveTo>
                      <a:pt x="231" y="50"/>
                    </a:moveTo>
                    <a:lnTo>
                      <a:pt x="231" y="17"/>
                    </a:lnTo>
                    <a:lnTo>
                      <a:pt x="292" y="17"/>
                    </a:lnTo>
                    <a:lnTo>
                      <a:pt x="292" y="44"/>
                    </a:lnTo>
                    <a:lnTo>
                      <a:pt x="231" y="50"/>
                    </a:lnTo>
                    <a:close/>
                    <a:moveTo>
                      <a:pt x="352" y="44"/>
                    </a:moveTo>
                    <a:lnTo>
                      <a:pt x="352" y="17"/>
                    </a:lnTo>
                    <a:lnTo>
                      <a:pt x="407" y="17"/>
                    </a:lnTo>
                    <a:lnTo>
                      <a:pt x="407" y="44"/>
                    </a:lnTo>
                    <a:lnTo>
                      <a:pt x="352" y="44"/>
                    </a:lnTo>
                    <a:close/>
                    <a:moveTo>
                      <a:pt x="468" y="44"/>
                    </a:moveTo>
                    <a:lnTo>
                      <a:pt x="468" y="17"/>
                    </a:lnTo>
                    <a:lnTo>
                      <a:pt x="528" y="11"/>
                    </a:lnTo>
                    <a:lnTo>
                      <a:pt x="528" y="44"/>
                    </a:lnTo>
                    <a:lnTo>
                      <a:pt x="468" y="44"/>
                    </a:lnTo>
                    <a:close/>
                    <a:moveTo>
                      <a:pt x="583" y="44"/>
                    </a:moveTo>
                    <a:lnTo>
                      <a:pt x="583" y="11"/>
                    </a:lnTo>
                    <a:lnTo>
                      <a:pt x="644" y="11"/>
                    </a:lnTo>
                    <a:lnTo>
                      <a:pt x="644" y="39"/>
                    </a:lnTo>
                    <a:lnTo>
                      <a:pt x="583" y="44"/>
                    </a:lnTo>
                    <a:close/>
                    <a:moveTo>
                      <a:pt x="704" y="39"/>
                    </a:moveTo>
                    <a:lnTo>
                      <a:pt x="699" y="11"/>
                    </a:lnTo>
                    <a:lnTo>
                      <a:pt x="759" y="11"/>
                    </a:lnTo>
                    <a:lnTo>
                      <a:pt x="759" y="39"/>
                    </a:lnTo>
                    <a:lnTo>
                      <a:pt x="704" y="39"/>
                    </a:lnTo>
                    <a:close/>
                    <a:moveTo>
                      <a:pt x="820" y="39"/>
                    </a:moveTo>
                    <a:lnTo>
                      <a:pt x="820" y="11"/>
                    </a:lnTo>
                    <a:lnTo>
                      <a:pt x="875" y="11"/>
                    </a:lnTo>
                    <a:lnTo>
                      <a:pt x="875" y="39"/>
                    </a:lnTo>
                    <a:lnTo>
                      <a:pt x="820" y="39"/>
                    </a:lnTo>
                    <a:close/>
                    <a:moveTo>
                      <a:pt x="936" y="39"/>
                    </a:moveTo>
                    <a:lnTo>
                      <a:pt x="936" y="6"/>
                    </a:lnTo>
                    <a:lnTo>
                      <a:pt x="996" y="6"/>
                    </a:lnTo>
                    <a:lnTo>
                      <a:pt x="996" y="39"/>
                    </a:lnTo>
                    <a:lnTo>
                      <a:pt x="936" y="39"/>
                    </a:lnTo>
                    <a:close/>
                    <a:moveTo>
                      <a:pt x="1051" y="33"/>
                    </a:moveTo>
                    <a:lnTo>
                      <a:pt x="1051" y="6"/>
                    </a:lnTo>
                    <a:lnTo>
                      <a:pt x="1112" y="6"/>
                    </a:lnTo>
                    <a:lnTo>
                      <a:pt x="1112" y="33"/>
                    </a:lnTo>
                    <a:lnTo>
                      <a:pt x="1051" y="33"/>
                    </a:lnTo>
                    <a:close/>
                    <a:moveTo>
                      <a:pt x="1172" y="33"/>
                    </a:moveTo>
                    <a:lnTo>
                      <a:pt x="1172" y="6"/>
                    </a:lnTo>
                    <a:lnTo>
                      <a:pt x="1227" y="6"/>
                    </a:lnTo>
                    <a:lnTo>
                      <a:pt x="1227" y="33"/>
                    </a:lnTo>
                    <a:lnTo>
                      <a:pt x="1172" y="33"/>
                    </a:lnTo>
                    <a:close/>
                    <a:moveTo>
                      <a:pt x="1288" y="33"/>
                    </a:moveTo>
                    <a:lnTo>
                      <a:pt x="1288" y="0"/>
                    </a:lnTo>
                    <a:lnTo>
                      <a:pt x="1343" y="0"/>
                    </a:lnTo>
                    <a:lnTo>
                      <a:pt x="1348" y="33"/>
                    </a:lnTo>
                    <a:lnTo>
                      <a:pt x="1288" y="33"/>
                    </a:lnTo>
                    <a:close/>
                    <a:moveTo>
                      <a:pt x="1404" y="28"/>
                    </a:moveTo>
                    <a:lnTo>
                      <a:pt x="1404" y="0"/>
                    </a:lnTo>
                    <a:lnTo>
                      <a:pt x="1464" y="0"/>
                    </a:lnTo>
                    <a:lnTo>
                      <a:pt x="1464" y="28"/>
                    </a:lnTo>
                    <a:lnTo>
                      <a:pt x="1404" y="28"/>
                    </a:lnTo>
                    <a:close/>
                    <a:moveTo>
                      <a:pt x="1519" y="28"/>
                    </a:moveTo>
                    <a:lnTo>
                      <a:pt x="1519" y="0"/>
                    </a:lnTo>
                    <a:lnTo>
                      <a:pt x="1580" y="0"/>
                    </a:lnTo>
                    <a:lnTo>
                      <a:pt x="1580" y="28"/>
                    </a:lnTo>
                    <a:lnTo>
                      <a:pt x="1519" y="28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3" name="Rectangle 48"/>
              <p:cNvSpPr>
                <a:spLocks noChangeArrowheads="1"/>
              </p:cNvSpPr>
              <p:nvPr/>
            </p:nvSpPr>
            <p:spPr bwMode="auto">
              <a:xfrm>
                <a:off x="10497466" y="3963288"/>
                <a:ext cx="18667" cy="22000"/>
              </a:xfrm>
              <a:prstGeom prst="rect">
                <a:avLst/>
              </a:pr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4" name="Freeform 49"/>
              <p:cNvSpPr>
                <a:spLocks/>
              </p:cNvSpPr>
              <p:nvPr/>
            </p:nvSpPr>
            <p:spPr bwMode="auto">
              <a:xfrm>
                <a:off x="9947466" y="3765288"/>
                <a:ext cx="194000" cy="432667"/>
              </a:xfrm>
              <a:custGeom>
                <a:avLst/>
                <a:gdLst>
                  <a:gd name="T0" fmla="*/ 27 w 291"/>
                  <a:gd name="T1" fmla="*/ 649 h 649"/>
                  <a:gd name="T2" fmla="*/ 0 w 291"/>
                  <a:gd name="T3" fmla="*/ 638 h 649"/>
                  <a:gd name="T4" fmla="*/ 264 w 291"/>
                  <a:gd name="T5" fmla="*/ 0 h 649"/>
                  <a:gd name="T6" fmla="*/ 291 w 291"/>
                  <a:gd name="T7" fmla="*/ 11 h 649"/>
                  <a:gd name="T8" fmla="*/ 27 w 291"/>
                  <a:gd name="T9" fmla="*/ 649 h 6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1" h="649">
                    <a:moveTo>
                      <a:pt x="27" y="649"/>
                    </a:moveTo>
                    <a:lnTo>
                      <a:pt x="0" y="638"/>
                    </a:lnTo>
                    <a:lnTo>
                      <a:pt x="264" y="0"/>
                    </a:lnTo>
                    <a:lnTo>
                      <a:pt x="291" y="11"/>
                    </a:lnTo>
                    <a:lnTo>
                      <a:pt x="27" y="649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5" name="Freeform 50"/>
              <p:cNvSpPr>
                <a:spLocks/>
              </p:cNvSpPr>
              <p:nvPr/>
            </p:nvSpPr>
            <p:spPr bwMode="auto">
              <a:xfrm>
                <a:off x="9411466" y="4010621"/>
                <a:ext cx="546667" cy="190667"/>
              </a:xfrm>
              <a:custGeom>
                <a:avLst/>
                <a:gdLst>
                  <a:gd name="T0" fmla="*/ 820 w 820"/>
                  <a:gd name="T1" fmla="*/ 259 h 286"/>
                  <a:gd name="T2" fmla="*/ 435 w 820"/>
                  <a:gd name="T3" fmla="*/ 132 h 286"/>
                  <a:gd name="T4" fmla="*/ 352 w 820"/>
                  <a:gd name="T5" fmla="*/ 50 h 286"/>
                  <a:gd name="T6" fmla="*/ 336 w 820"/>
                  <a:gd name="T7" fmla="*/ 105 h 286"/>
                  <a:gd name="T8" fmla="*/ 297 w 820"/>
                  <a:gd name="T9" fmla="*/ 94 h 286"/>
                  <a:gd name="T10" fmla="*/ 297 w 820"/>
                  <a:gd name="T11" fmla="*/ 94 h 286"/>
                  <a:gd name="T12" fmla="*/ 11 w 820"/>
                  <a:gd name="T13" fmla="*/ 0 h 286"/>
                  <a:gd name="T14" fmla="*/ 0 w 820"/>
                  <a:gd name="T15" fmla="*/ 28 h 286"/>
                  <a:gd name="T16" fmla="*/ 330 w 820"/>
                  <a:gd name="T17" fmla="*/ 132 h 286"/>
                  <a:gd name="T18" fmla="*/ 308 w 820"/>
                  <a:gd name="T19" fmla="*/ 187 h 286"/>
                  <a:gd name="T20" fmla="*/ 424 w 820"/>
                  <a:gd name="T21" fmla="*/ 165 h 286"/>
                  <a:gd name="T22" fmla="*/ 815 w 820"/>
                  <a:gd name="T23" fmla="*/ 286 h 286"/>
                  <a:gd name="T24" fmla="*/ 820 w 820"/>
                  <a:gd name="T25" fmla="*/ 259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20" h="286">
                    <a:moveTo>
                      <a:pt x="820" y="259"/>
                    </a:moveTo>
                    <a:lnTo>
                      <a:pt x="435" y="132"/>
                    </a:lnTo>
                    <a:lnTo>
                      <a:pt x="352" y="50"/>
                    </a:lnTo>
                    <a:lnTo>
                      <a:pt x="336" y="105"/>
                    </a:lnTo>
                    <a:lnTo>
                      <a:pt x="297" y="94"/>
                    </a:lnTo>
                    <a:lnTo>
                      <a:pt x="297" y="94"/>
                    </a:lnTo>
                    <a:lnTo>
                      <a:pt x="11" y="0"/>
                    </a:lnTo>
                    <a:lnTo>
                      <a:pt x="0" y="28"/>
                    </a:lnTo>
                    <a:lnTo>
                      <a:pt x="330" y="132"/>
                    </a:lnTo>
                    <a:lnTo>
                      <a:pt x="308" y="187"/>
                    </a:lnTo>
                    <a:lnTo>
                      <a:pt x="424" y="165"/>
                    </a:lnTo>
                    <a:lnTo>
                      <a:pt x="815" y="286"/>
                    </a:lnTo>
                    <a:lnTo>
                      <a:pt x="820" y="259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6" name="Freeform 51"/>
              <p:cNvSpPr>
                <a:spLocks/>
              </p:cNvSpPr>
              <p:nvPr/>
            </p:nvSpPr>
            <p:spPr bwMode="auto">
              <a:xfrm>
                <a:off x="9950800" y="3973955"/>
                <a:ext cx="568667" cy="227334"/>
              </a:xfrm>
              <a:custGeom>
                <a:avLst/>
                <a:gdLst>
                  <a:gd name="T0" fmla="*/ 473 w 853"/>
                  <a:gd name="T1" fmla="*/ 171 h 341"/>
                  <a:gd name="T2" fmla="*/ 853 w 853"/>
                  <a:gd name="T3" fmla="*/ 28 h 341"/>
                  <a:gd name="T4" fmla="*/ 848 w 853"/>
                  <a:gd name="T5" fmla="*/ 0 h 341"/>
                  <a:gd name="T6" fmla="*/ 462 w 853"/>
                  <a:gd name="T7" fmla="*/ 143 h 341"/>
                  <a:gd name="T8" fmla="*/ 347 w 853"/>
                  <a:gd name="T9" fmla="*/ 127 h 341"/>
                  <a:gd name="T10" fmla="*/ 369 w 853"/>
                  <a:gd name="T11" fmla="*/ 176 h 341"/>
                  <a:gd name="T12" fmla="*/ 0 w 853"/>
                  <a:gd name="T13" fmla="*/ 314 h 341"/>
                  <a:gd name="T14" fmla="*/ 11 w 853"/>
                  <a:gd name="T15" fmla="*/ 341 h 341"/>
                  <a:gd name="T16" fmla="*/ 308 w 853"/>
                  <a:gd name="T17" fmla="*/ 231 h 341"/>
                  <a:gd name="T18" fmla="*/ 308 w 853"/>
                  <a:gd name="T19" fmla="*/ 231 h 341"/>
                  <a:gd name="T20" fmla="*/ 380 w 853"/>
                  <a:gd name="T21" fmla="*/ 204 h 341"/>
                  <a:gd name="T22" fmla="*/ 396 w 853"/>
                  <a:gd name="T23" fmla="*/ 259 h 341"/>
                  <a:gd name="T24" fmla="*/ 473 w 853"/>
                  <a:gd name="T25" fmla="*/ 17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53" h="341">
                    <a:moveTo>
                      <a:pt x="473" y="171"/>
                    </a:moveTo>
                    <a:lnTo>
                      <a:pt x="853" y="28"/>
                    </a:lnTo>
                    <a:lnTo>
                      <a:pt x="848" y="0"/>
                    </a:lnTo>
                    <a:lnTo>
                      <a:pt x="462" y="143"/>
                    </a:lnTo>
                    <a:lnTo>
                      <a:pt x="347" y="127"/>
                    </a:lnTo>
                    <a:lnTo>
                      <a:pt x="369" y="176"/>
                    </a:lnTo>
                    <a:lnTo>
                      <a:pt x="0" y="314"/>
                    </a:lnTo>
                    <a:lnTo>
                      <a:pt x="11" y="341"/>
                    </a:lnTo>
                    <a:lnTo>
                      <a:pt x="308" y="231"/>
                    </a:lnTo>
                    <a:lnTo>
                      <a:pt x="308" y="231"/>
                    </a:lnTo>
                    <a:lnTo>
                      <a:pt x="380" y="204"/>
                    </a:lnTo>
                    <a:lnTo>
                      <a:pt x="396" y="259"/>
                    </a:lnTo>
                    <a:lnTo>
                      <a:pt x="473" y="171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7" name="Freeform 52"/>
              <p:cNvSpPr>
                <a:spLocks/>
              </p:cNvSpPr>
              <p:nvPr/>
            </p:nvSpPr>
            <p:spPr bwMode="auto">
              <a:xfrm>
                <a:off x="10112133" y="3783288"/>
                <a:ext cx="407333" cy="198000"/>
              </a:xfrm>
              <a:custGeom>
                <a:avLst/>
                <a:gdLst>
                  <a:gd name="T0" fmla="*/ 600 w 611"/>
                  <a:gd name="T1" fmla="*/ 297 h 297"/>
                  <a:gd name="T2" fmla="*/ 0 w 611"/>
                  <a:gd name="T3" fmla="*/ 28 h 297"/>
                  <a:gd name="T4" fmla="*/ 17 w 611"/>
                  <a:gd name="T5" fmla="*/ 0 h 297"/>
                  <a:gd name="T6" fmla="*/ 611 w 611"/>
                  <a:gd name="T7" fmla="*/ 275 h 297"/>
                  <a:gd name="T8" fmla="*/ 600 w 611"/>
                  <a:gd name="T9" fmla="*/ 297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1" h="297">
                    <a:moveTo>
                      <a:pt x="600" y="297"/>
                    </a:moveTo>
                    <a:lnTo>
                      <a:pt x="0" y="28"/>
                    </a:lnTo>
                    <a:lnTo>
                      <a:pt x="17" y="0"/>
                    </a:lnTo>
                    <a:lnTo>
                      <a:pt x="611" y="275"/>
                    </a:lnTo>
                    <a:lnTo>
                      <a:pt x="600" y="297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8" name="Oval 53"/>
              <p:cNvSpPr>
                <a:spLocks noChangeArrowheads="1"/>
              </p:cNvSpPr>
              <p:nvPr/>
            </p:nvSpPr>
            <p:spPr bwMode="auto">
              <a:xfrm>
                <a:off x="9242800" y="3875288"/>
                <a:ext cx="220000" cy="220000"/>
              </a:xfrm>
              <a:prstGeom prst="ellipse">
                <a:avLst/>
              </a:pr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9" name="Oval 54"/>
              <p:cNvSpPr>
                <a:spLocks noChangeArrowheads="1"/>
              </p:cNvSpPr>
              <p:nvPr/>
            </p:nvSpPr>
            <p:spPr bwMode="auto">
              <a:xfrm>
                <a:off x="10013466" y="3680621"/>
                <a:ext cx="220000" cy="220000"/>
              </a:xfrm>
              <a:prstGeom prst="ellipse">
                <a:avLst/>
              </a:pr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0" name="Oval 55"/>
              <p:cNvSpPr>
                <a:spLocks noChangeArrowheads="1"/>
              </p:cNvSpPr>
              <p:nvPr/>
            </p:nvSpPr>
            <p:spPr bwMode="auto">
              <a:xfrm>
                <a:off x="10406133" y="3875288"/>
                <a:ext cx="223334" cy="220000"/>
              </a:xfrm>
              <a:prstGeom prst="ellipse">
                <a:avLst/>
              </a:pr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1" name="Oval 56"/>
              <p:cNvSpPr>
                <a:spLocks noChangeArrowheads="1"/>
              </p:cNvSpPr>
              <p:nvPr/>
            </p:nvSpPr>
            <p:spPr bwMode="auto">
              <a:xfrm>
                <a:off x="10174800" y="3328621"/>
                <a:ext cx="220000" cy="220000"/>
              </a:xfrm>
              <a:prstGeom prst="ellipse">
                <a:avLst/>
              </a:pr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2" name="Oval 57"/>
              <p:cNvSpPr>
                <a:spLocks noChangeArrowheads="1"/>
              </p:cNvSpPr>
              <p:nvPr/>
            </p:nvSpPr>
            <p:spPr bwMode="auto">
              <a:xfrm>
                <a:off x="9602133" y="3588621"/>
                <a:ext cx="220000" cy="224000"/>
              </a:xfrm>
              <a:prstGeom prst="ellipse">
                <a:avLst/>
              </a:pr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Oval 58"/>
              <p:cNvSpPr>
                <a:spLocks noChangeArrowheads="1"/>
              </p:cNvSpPr>
              <p:nvPr/>
            </p:nvSpPr>
            <p:spPr bwMode="auto">
              <a:xfrm>
                <a:off x="9848133" y="4080621"/>
                <a:ext cx="220000" cy="220000"/>
              </a:xfrm>
              <a:prstGeom prst="ellipse">
                <a:avLst/>
              </a:pr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Oval 59"/>
              <p:cNvSpPr>
                <a:spLocks noChangeArrowheads="1"/>
              </p:cNvSpPr>
              <p:nvPr/>
            </p:nvSpPr>
            <p:spPr bwMode="auto">
              <a:xfrm>
                <a:off x="9462800" y="3280621"/>
                <a:ext cx="220000" cy="220000"/>
              </a:xfrm>
              <a:prstGeom prst="ellipse">
                <a:avLst/>
              </a:prstGeom>
              <a:solidFill>
                <a:srgbClr val="288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60"/>
              <p:cNvSpPr>
                <a:spLocks noEditPoints="1"/>
              </p:cNvSpPr>
              <p:nvPr/>
            </p:nvSpPr>
            <p:spPr bwMode="auto">
              <a:xfrm>
                <a:off x="10457466" y="3948621"/>
                <a:ext cx="120667" cy="69333"/>
              </a:xfrm>
              <a:custGeom>
                <a:avLst/>
                <a:gdLst>
                  <a:gd name="T0" fmla="*/ 17 w 33"/>
                  <a:gd name="T1" fmla="*/ 5 h 19"/>
                  <a:gd name="T2" fmla="*/ 17 w 33"/>
                  <a:gd name="T3" fmla="*/ 6 h 19"/>
                  <a:gd name="T4" fmla="*/ 16 w 33"/>
                  <a:gd name="T5" fmla="*/ 6 h 19"/>
                  <a:gd name="T6" fmla="*/ 16 w 33"/>
                  <a:gd name="T7" fmla="*/ 6 h 19"/>
                  <a:gd name="T8" fmla="*/ 17 w 33"/>
                  <a:gd name="T9" fmla="*/ 4 h 19"/>
                  <a:gd name="T10" fmla="*/ 17 w 33"/>
                  <a:gd name="T11" fmla="*/ 5 h 19"/>
                  <a:gd name="T12" fmla="*/ 18 w 33"/>
                  <a:gd name="T13" fmla="*/ 7 h 19"/>
                  <a:gd name="T14" fmla="*/ 17 w 33"/>
                  <a:gd name="T15" fmla="*/ 8 h 19"/>
                  <a:gd name="T16" fmla="*/ 14 w 33"/>
                  <a:gd name="T17" fmla="*/ 5 h 19"/>
                  <a:gd name="T18" fmla="*/ 17 w 33"/>
                  <a:gd name="T19" fmla="*/ 3 h 19"/>
                  <a:gd name="T20" fmla="*/ 18 w 33"/>
                  <a:gd name="T21" fmla="*/ 4 h 19"/>
                  <a:gd name="T22" fmla="*/ 19 w 33"/>
                  <a:gd name="T23" fmla="*/ 5 h 19"/>
                  <a:gd name="T24" fmla="*/ 18 w 33"/>
                  <a:gd name="T25" fmla="*/ 6 h 19"/>
                  <a:gd name="T26" fmla="*/ 18 w 33"/>
                  <a:gd name="T27" fmla="*/ 6 h 19"/>
                  <a:gd name="T28" fmla="*/ 18 w 33"/>
                  <a:gd name="T29" fmla="*/ 6 h 19"/>
                  <a:gd name="T30" fmla="*/ 18 w 33"/>
                  <a:gd name="T31" fmla="*/ 4 h 19"/>
                  <a:gd name="T32" fmla="*/ 17 w 33"/>
                  <a:gd name="T33" fmla="*/ 4 h 19"/>
                  <a:gd name="T34" fmla="*/ 15 w 33"/>
                  <a:gd name="T35" fmla="*/ 6 h 19"/>
                  <a:gd name="T36" fmla="*/ 16 w 33"/>
                  <a:gd name="T37" fmla="*/ 7 h 19"/>
                  <a:gd name="T38" fmla="*/ 17 w 33"/>
                  <a:gd name="T39" fmla="*/ 6 h 19"/>
                  <a:gd name="T40" fmla="*/ 18 w 33"/>
                  <a:gd name="T41" fmla="*/ 7 h 19"/>
                  <a:gd name="T42" fmla="*/ 20 w 33"/>
                  <a:gd name="T43" fmla="*/ 5 h 19"/>
                  <a:gd name="T44" fmla="*/ 17 w 33"/>
                  <a:gd name="T45" fmla="*/ 2 h 19"/>
                  <a:gd name="T46" fmla="*/ 13 w 33"/>
                  <a:gd name="T47" fmla="*/ 5 h 19"/>
                  <a:gd name="T48" fmla="*/ 17 w 33"/>
                  <a:gd name="T49" fmla="*/ 8 h 19"/>
                  <a:gd name="T50" fmla="*/ 18 w 33"/>
                  <a:gd name="T51" fmla="*/ 8 h 19"/>
                  <a:gd name="T52" fmla="*/ 18 w 33"/>
                  <a:gd name="T53" fmla="*/ 7 h 19"/>
                  <a:gd name="T54" fmla="*/ 1 w 33"/>
                  <a:gd name="T55" fmla="*/ 0 h 19"/>
                  <a:gd name="T56" fmla="*/ 32 w 33"/>
                  <a:gd name="T57" fmla="*/ 0 h 19"/>
                  <a:gd name="T58" fmla="*/ 16 w 33"/>
                  <a:gd name="T59" fmla="*/ 12 h 19"/>
                  <a:gd name="T60" fmla="*/ 1 w 33"/>
                  <a:gd name="T61" fmla="*/ 0 h 19"/>
                  <a:gd name="T62" fmla="*/ 33 w 33"/>
                  <a:gd name="T63" fmla="*/ 1 h 19"/>
                  <a:gd name="T64" fmla="*/ 33 w 33"/>
                  <a:gd name="T65" fmla="*/ 19 h 19"/>
                  <a:gd name="T66" fmla="*/ 0 w 33"/>
                  <a:gd name="T67" fmla="*/ 19 h 19"/>
                  <a:gd name="T68" fmla="*/ 0 w 33"/>
                  <a:gd name="T69" fmla="*/ 1 h 19"/>
                  <a:gd name="T70" fmla="*/ 16 w 33"/>
                  <a:gd name="T71" fmla="*/ 14 h 19"/>
                  <a:gd name="T72" fmla="*/ 33 w 33"/>
                  <a:gd name="T73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" h="19">
                    <a:moveTo>
                      <a:pt x="17" y="5"/>
                    </a:moveTo>
                    <a:cubicBezTo>
                      <a:pt x="17" y="6"/>
                      <a:pt x="17" y="6"/>
                      <a:pt x="17" y="6"/>
                    </a:cubicBezTo>
                    <a:cubicBezTo>
                      <a:pt x="17" y="6"/>
                      <a:pt x="16" y="6"/>
                      <a:pt x="16" y="6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5"/>
                      <a:pt x="16" y="4"/>
                      <a:pt x="17" y="4"/>
                    </a:cubicBezTo>
                    <a:cubicBezTo>
                      <a:pt x="17" y="4"/>
                      <a:pt x="17" y="4"/>
                      <a:pt x="17" y="5"/>
                    </a:cubicBezTo>
                    <a:close/>
                    <a:moveTo>
                      <a:pt x="18" y="7"/>
                    </a:moveTo>
                    <a:cubicBezTo>
                      <a:pt x="18" y="8"/>
                      <a:pt x="17" y="8"/>
                      <a:pt x="17" y="8"/>
                    </a:cubicBezTo>
                    <a:cubicBezTo>
                      <a:pt x="15" y="8"/>
                      <a:pt x="14" y="7"/>
                      <a:pt x="14" y="5"/>
                    </a:cubicBezTo>
                    <a:cubicBezTo>
                      <a:pt x="14" y="4"/>
                      <a:pt x="15" y="3"/>
                      <a:pt x="17" y="3"/>
                    </a:cubicBezTo>
                    <a:cubicBezTo>
                      <a:pt x="17" y="3"/>
                      <a:pt x="18" y="3"/>
                      <a:pt x="18" y="4"/>
                    </a:cubicBezTo>
                    <a:cubicBezTo>
                      <a:pt x="19" y="4"/>
                      <a:pt x="19" y="4"/>
                      <a:pt x="19" y="5"/>
                    </a:cubicBezTo>
                    <a:cubicBezTo>
                      <a:pt x="19" y="6"/>
                      <a:pt x="19" y="6"/>
                      <a:pt x="18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4"/>
                      <a:pt x="17" y="4"/>
                      <a:pt x="17" y="4"/>
                    </a:cubicBezTo>
                    <a:cubicBezTo>
                      <a:pt x="16" y="4"/>
                      <a:pt x="15" y="5"/>
                      <a:pt x="15" y="6"/>
                    </a:cubicBezTo>
                    <a:cubicBezTo>
                      <a:pt x="15" y="7"/>
                      <a:pt x="15" y="7"/>
                      <a:pt x="16" y="7"/>
                    </a:cubicBezTo>
                    <a:cubicBezTo>
                      <a:pt x="17" y="7"/>
                      <a:pt x="17" y="7"/>
                      <a:pt x="17" y="6"/>
                    </a:cubicBezTo>
                    <a:cubicBezTo>
                      <a:pt x="17" y="7"/>
                      <a:pt x="18" y="7"/>
                      <a:pt x="18" y="7"/>
                    </a:cubicBezTo>
                    <a:cubicBezTo>
                      <a:pt x="19" y="7"/>
                      <a:pt x="20" y="6"/>
                      <a:pt x="20" y="5"/>
                    </a:cubicBezTo>
                    <a:cubicBezTo>
                      <a:pt x="20" y="3"/>
                      <a:pt x="19" y="2"/>
                      <a:pt x="17" y="2"/>
                    </a:cubicBezTo>
                    <a:cubicBezTo>
                      <a:pt x="14" y="2"/>
                      <a:pt x="13" y="4"/>
                      <a:pt x="13" y="5"/>
                    </a:cubicBezTo>
                    <a:cubicBezTo>
                      <a:pt x="13" y="7"/>
                      <a:pt x="14" y="8"/>
                      <a:pt x="17" y="8"/>
                    </a:cubicBezTo>
                    <a:cubicBezTo>
                      <a:pt x="17" y="8"/>
                      <a:pt x="18" y="8"/>
                      <a:pt x="18" y="8"/>
                    </a:cubicBezTo>
                    <a:lnTo>
                      <a:pt x="18" y="7"/>
                    </a:lnTo>
                    <a:close/>
                    <a:moveTo>
                      <a:pt x="1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6" y="12"/>
                      <a:pt x="16" y="12"/>
                      <a:pt x="16" y="12"/>
                    </a:cubicBezTo>
                    <a:lnTo>
                      <a:pt x="1" y="0"/>
                    </a:lnTo>
                    <a:close/>
                    <a:moveTo>
                      <a:pt x="33" y="1"/>
                    </a:moveTo>
                    <a:cubicBezTo>
                      <a:pt x="33" y="19"/>
                      <a:pt x="33" y="19"/>
                      <a:pt x="33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6" y="14"/>
                      <a:pt x="16" y="14"/>
                      <a:pt x="16" y="14"/>
                    </a:cubicBezTo>
                    <a:lnTo>
                      <a:pt x="3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61"/>
              <p:cNvSpPr>
                <a:spLocks/>
              </p:cNvSpPr>
              <p:nvPr/>
            </p:nvSpPr>
            <p:spPr bwMode="auto">
              <a:xfrm>
                <a:off x="9301467" y="3929955"/>
                <a:ext cx="110000" cy="110000"/>
              </a:xfrm>
              <a:custGeom>
                <a:avLst/>
                <a:gdLst>
                  <a:gd name="T0" fmla="*/ 0 w 30"/>
                  <a:gd name="T1" fmla="*/ 0 h 30"/>
                  <a:gd name="T2" fmla="*/ 0 w 30"/>
                  <a:gd name="T3" fmla="*/ 29 h 30"/>
                  <a:gd name="T4" fmla="*/ 8 w 30"/>
                  <a:gd name="T5" fmla="*/ 30 h 30"/>
                  <a:gd name="T6" fmla="*/ 1 w 30"/>
                  <a:gd name="T7" fmla="*/ 22 h 30"/>
                  <a:gd name="T8" fmla="*/ 1 w 30"/>
                  <a:gd name="T9" fmla="*/ 1 h 30"/>
                  <a:gd name="T10" fmla="*/ 29 w 30"/>
                  <a:gd name="T11" fmla="*/ 1 h 30"/>
                  <a:gd name="T12" fmla="*/ 29 w 30"/>
                  <a:gd name="T13" fmla="*/ 29 h 30"/>
                  <a:gd name="T14" fmla="*/ 2 w 30"/>
                  <a:gd name="T15" fmla="*/ 21 h 30"/>
                  <a:gd name="T16" fmla="*/ 2 w 30"/>
                  <a:gd name="T17" fmla="*/ 2 h 30"/>
                  <a:gd name="T18" fmla="*/ 27 w 30"/>
                  <a:gd name="T19" fmla="*/ 2 h 30"/>
                  <a:gd name="T20" fmla="*/ 27 w 30"/>
                  <a:gd name="T21" fmla="*/ 27 h 30"/>
                  <a:gd name="T22" fmla="*/ 4 w 30"/>
                  <a:gd name="T23" fmla="*/ 20 h 30"/>
                  <a:gd name="T24" fmla="*/ 4 w 30"/>
                  <a:gd name="T25" fmla="*/ 4 h 30"/>
                  <a:gd name="T26" fmla="*/ 26 w 30"/>
                  <a:gd name="T27" fmla="*/ 4 h 30"/>
                  <a:gd name="T28" fmla="*/ 25 w 30"/>
                  <a:gd name="T29" fmla="*/ 26 h 30"/>
                  <a:gd name="T30" fmla="*/ 5 w 30"/>
                  <a:gd name="T31" fmla="*/ 19 h 30"/>
                  <a:gd name="T32" fmla="*/ 6 w 30"/>
                  <a:gd name="T33" fmla="*/ 5 h 30"/>
                  <a:gd name="T34" fmla="*/ 24 w 30"/>
                  <a:gd name="T35" fmla="*/ 6 h 30"/>
                  <a:gd name="T36" fmla="*/ 24 w 30"/>
                  <a:gd name="T37" fmla="*/ 24 h 30"/>
                  <a:gd name="T38" fmla="*/ 13 w 30"/>
                  <a:gd name="T39" fmla="*/ 24 h 30"/>
                  <a:gd name="T40" fmla="*/ 12 w 30"/>
                  <a:gd name="T41" fmla="*/ 17 h 30"/>
                  <a:gd name="T42" fmla="*/ 6 w 30"/>
                  <a:gd name="T43" fmla="*/ 18 h 30"/>
                  <a:gd name="T44" fmla="*/ 6 w 30"/>
                  <a:gd name="T45" fmla="*/ 19 h 30"/>
                  <a:gd name="T46" fmla="*/ 12 w 30"/>
                  <a:gd name="T47" fmla="*/ 25 h 30"/>
                  <a:gd name="T48" fmla="*/ 25 w 30"/>
                  <a:gd name="T49" fmla="*/ 24 h 30"/>
                  <a:gd name="T50" fmla="*/ 24 w 30"/>
                  <a:gd name="T51" fmla="*/ 4 h 30"/>
                  <a:gd name="T52" fmla="*/ 4 w 30"/>
                  <a:gd name="T53" fmla="*/ 5 h 30"/>
                  <a:gd name="T54" fmla="*/ 5 w 30"/>
                  <a:gd name="T55" fmla="*/ 20 h 30"/>
                  <a:gd name="T56" fmla="*/ 11 w 30"/>
                  <a:gd name="T57" fmla="*/ 27 h 30"/>
                  <a:gd name="T58" fmla="*/ 27 w 30"/>
                  <a:gd name="T59" fmla="*/ 26 h 30"/>
                  <a:gd name="T60" fmla="*/ 26 w 30"/>
                  <a:gd name="T61" fmla="*/ 3 h 30"/>
                  <a:gd name="T62" fmla="*/ 3 w 30"/>
                  <a:gd name="T63" fmla="*/ 4 h 30"/>
                  <a:gd name="T64" fmla="*/ 3 w 30"/>
                  <a:gd name="T65" fmla="*/ 21 h 30"/>
                  <a:gd name="T66" fmla="*/ 11 w 30"/>
                  <a:gd name="T67" fmla="*/ 28 h 30"/>
                  <a:gd name="T68" fmla="*/ 28 w 30"/>
                  <a:gd name="T69" fmla="*/ 27 h 30"/>
                  <a:gd name="T70" fmla="*/ 27 w 30"/>
                  <a:gd name="T71" fmla="*/ 1 h 30"/>
                  <a:gd name="T72" fmla="*/ 1 w 30"/>
                  <a:gd name="T73" fmla="*/ 2 h 30"/>
                  <a:gd name="T74" fmla="*/ 1 w 30"/>
                  <a:gd name="T75" fmla="*/ 22 h 30"/>
                  <a:gd name="T76" fmla="*/ 10 w 30"/>
                  <a:gd name="T77" fmla="*/ 30 h 30"/>
                  <a:gd name="T78" fmla="*/ 30 w 30"/>
                  <a:gd name="T79" fmla="*/ 29 h 30"/>
                  <a:gd name="T80" fmla="*/ 29 w 30"/>
                  <a:gd name="T8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" h="30">
                    <a:moveTo>
                      <a:pt x="29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30"/>
                      <a:pt x="1" y="3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8" y="29"/>
                      <a:pt x="8" y="29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9" y="1"/>
                      <a:pt x="29" y="1"/>
                      <a:pt x="29" y="1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2"/>
                      <a:pt x="27" y="2"/>
                      <a:pt x="27" y="2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26" y="25"/>
                      <a:pt x="26" y="25"/>
                      <a:pt x="26" y="25"/>
                    </a:cubicBezTo>
                    <a:cubicBezTo>
                      <a:pt x="26" y="26"/>
                      <a:pt x="26" y="26"/>
                      <a:pt x="25" y="26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4" y="5"/>
                      <a:pt x="24" y="5"/>
                      <a:pt x="24" y="6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7"/>
                      <a:pt x="12" y="17"/>
                      <a:pt x="12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6" y="17"/>
                      <a:pt x="6" y="17"/>
                      <a:pt x="6" y="18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12" y="25"/>
                      <a:pt x="12" y="25"/>
                      <a:pt x="12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5" y="25"/>
                      <a:pt x="25" y="25"/>
                      <a:pt x="25" y="24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4"/>
                      <a:pt x="2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4" y="5"/>
                      <a:pt x="4" y="5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0"/>
                      <a:pt x="4" y="20"/>
                      <a:pt x="5" y="20"/>
                    </a:cubicBezTo>
                    <a:cubicBezTo>
                      <a:pt x="11" y="26"/>
                      <a:pt x="11" y="26"/>
                      <a:pt x="11" y="26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7"/>
                      <a:pt x="27" y="26"/>
                      <a:pt x="27" y="26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7" y="3"/>
                      <a:pt x="26" y="3"/>
                      <a:pt x="26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4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8"/>
                      <a:pt x="10" y="28"/>
                      <a:pt x="11" y="28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8" y="28"/>
                      <a:pt x="28" y="28"/>
                      <a:pt x="28" y="27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28" y="2"/>
                      <a:pt x="28" y="1"/>
                      <a:pt x="27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1" y="2"/>
                      <a:pt x="1" y="2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1"/>
                      <a:pt x="1" y="22"/>
                      <a:pt x="1" y="22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10" y="30"/>
                      <a:pt x="10" y="30"/>
                      <a:pt x="10" y="30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29" y="30"/>
                      <a:pt x="30" y="29"/>
                      <a:pt x="30" y="29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0"/>
                      <a:pt x="29" y="0"/>
                      <a:pt x="29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62"/>
              <p:cNvSpPr>
                <a:spLocks noEditPoints="1"/>
              </p:cNvSpPr>
              <p:nvPr/>
            </p:nvSpPr>
            <p:spPr bwMode="auto">
              <a:xfrm>
                <a:off x="10064800" y="3731955"/>
                <a:ext cx="117333" cy="114000"/>
              </a:xfrm>
              <a:custGeom>
                <a:avLst/>
                <a:gdLst>
                  <a:gd name="T0" fmla="*/ 19 w 32"/>
                  <a:gd name="T1" fmla="*/ 26 h 31"/>
                  <a:gd name="T2" fmla="*/ 21 w 32"/>
                  <a:gd name="T3" fmla="*/ 25 h 31"/>
                  <a:gd name="T4" fmla="*/ 19 w 32"/>
                  <a:gd name="T5" fmla="*/ 23 h 31"/>
                  <a:gd name="T6" fmla="*/ 18 w 32"/>
                  <a:gd name="T7" fmla="*/ 25 h 31"/>
                  <a:gd name="T8" fmla="*/ 19 w 32"/>
                  <a:gd name="T9" fmla="*/ 26 h 31"/>
                  <a:gd name="T10" fmla="*/ 24 w 32"/>
                  <a:gd name="T11" fmla="*/ 10 h 31"/>
                  <a:gd name="T12" fmla="*/ 32 w 32"/>
                  <a:gd name="T13" fmla="*/ 10 h 31"/>
                  <a:gd name="T14" fmla="*/ 32 w 32"/>
                  <a:gd name="T15" fmla="*/ 19 h 31"/>
                  <a:gd name="T16" fmla="*/ 32 w 32"/>
                  <a:gd name="T17" fmla="*/ 29 h 31"/>
                  <a:gd name="T18" fmla="*/ 29 w 32"/>
                  <a:gd name="T19" fmla="*/ 29 h 31"/>
                  <a:gd name="T20" fmla="*/ 29 w 32"/>
                  <a:gd name="T21" fmla="*/ 31 h 31"/>
                  <a:gd name="T22" fmla="*/ 26 w 32"/>
                  <a:gd name="T23" fmla="*/ 29 h 31"/>
                  <a:gd name="T24" fmla="*/ 8 w 32"/>
                  <a:gd name="T25" fmla="*/ 29 h 31"/>
                  <a:gd name="T26" fmla="*/ 8 w 32"/>
                  <a:gd name="T27" fmla="*/ 19 h 31"/>
                  <a:gd name="T28" fmla="*/ 18 w 32"/>
                  <a:gd name="T29" fmla="*/ 19 h 31"/>
                  <a:gd name="T30" fmla="*/ 18 w 32"/>
                  <a:gd name="T31" fmla="*/ 22 h 31"/>
                  <a:gd name="T32" fmla="*/ 20 w 32"/>
                  <a:gd name="T33" fmla="*/ 22 h 31"/>
                  <a:gd name="T34" fmla="*/ 20 w 32"/>
                  <a:gd name="T35" fmla="*/ 19 h 31"/>
                  <a:gd name="T36" fmla="*/ 24 w 32"/>
                  <a:gd name="T37" fmla="*/ 19 h 31"/>
                  <a:gd name="T38" fmla="*/ 24 w 32"/>
                  <a:gd name="T39" fmla="*/ 10 h 31"/>
                  <a:gd name="T40" fmla="*/ 13 w 32"/>
                  <a:gd name="T41" fmla="*/ 9 h 31"/>
                  <a:gd name="T42" fmla="*/ 12 w 32"/>
                  <a:gd name="T43" fmla="*/ 11 h 31"/>
                  <a:gd name="T44" fmla="*/ 12 w 32"/>
                  <a:gd name="T45" fmla="*/ 11 h 31"/>
                  <a:gd name="T46" fmla="*/ 10 w 32"/>
                  <a:gd name="T47" fmla="*/ 11 h 31"/>
                  <a:gd name="T48" fmla="*/ 10 w 32"/>
                  <a:gd name="T49" fmla="*/ 11 h 31"/>
                  <a:gd name="T50" fmla="*/ 12 w 32"/>
                  <a:gd name="T51" fmla="*/ 8 h 31"/>
                  <a:gd name="T52" fmla="*/ 13 w 32"/>
                  <a:gd name="T53" fmla="*/ 6 h 31"/>
                  <a:gd name="T54" fmla="*/ 12 w 32"/>
                  <a:gd name="T55" fmla="*/ 5 h 31"/>
                  <a:gd name="T56" fmla="*/ 9 w 32"/>
                  <a:gd name="T57" fmla="*/ 5 h 31"/>
                  <a:gd name="T58" fmla="*/ 9 w 32"/>
                  <a:gd name="T59" fmla="*/ 4 h 31"/>
                  <a:gd name="T60" fmla="*/ 12 w 32"/>
                  <a:gd name="T61" fmla="*/ 3 h 31"/>
                  <a:gd name="T62" fmla="*/ 15 w 32"/>
                  <a:gd name="T63" fmla="*/ 6 h 31"/>
                  <a:gd name="T64" fmla="*/ 13 w 32"/>
                  <a:gd name="T65" fmla="*/ 9 h 31"/>
                  <a:gd name="T66" fmla="*/ 11 w 32"/>
                  <a:gd name="T67" fmla="*/ 15 h 31"/>
                  <a:gd name="T68" fmla="*/ 10 w 32"/>
                  <a:gd name="T69" fmla="*/ 14 h 31"/>
                  <a:gd name="T70" fmla="*/ 11 w 32"/>
                  <a:gd name="T71" fmla="*/ 13 h 31"/>
                  <a:gd name="T72" fmla="*/ 13 w 32"/>
                  <a:gd name="T73" fmla="*/ 14 h 31"/>
                  <a:gd name="T74" fmla="*/ 11 w 32"/>
                  <a:gd name="T75" fmla="*/ 15 h 31"/>
                  <a:gd name="T76" fmla="*/ 0 w 32"/>
                  <a:gd name="T77" fmla="*/ 0 h 31"/>
                  <a:gd name="T78" fmla="*/ 0 w 32"/>
                  <a:gd name="T79" fmla="*/ 18 h 31"/>
                  <a:gd name="T80" fmla="*/ 3 w 32"/>
                  <a:gd name="T81" fmla="*/ 18 h 31"/>
                  <a:gd name="T82" fmla="*/ 3 w 32"/>
                  <a:gd name="T83" fmla="*/ 21 h 31"/>
                  <a:gd name="T84" fmla="*/ 5 w 32"/>
                  <a:gd name="T85" fmla="*/ 18 h 31"/>
                  <a:gd name="T86" fmla="*/ 24 w 32"/>
                  <a:gd name="T87" fmla="*/ 18 h 31"/>
                  <a:gd name="T88" fmla="*/ 24 w 32"/>
                  <a:gd name="T89" fmla="*/ 0 h 31"/>
                  <a:gd name="T90" fmla="*/ 0 w 32"/>
                  <a:gd name="T9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2" h="31">
                    <a:moveTo>
                      <a:pt x="19" y="26"/>
                    </a:moveTo>
                    <a:cubicBezTo>
                      <a:pt x="20" y="26"/>
                      <a:pt x="21" y="25"/>
                      <a:pt x="21" y="25"/>
                    </a:cubicBezTo>
                    <a:cubicBezTo>
                      <a:pt x="21" y="24"/>
                      <a:pt x="20" y="23"/>
                      <a:pt x="19" y="23"/>
                    </a:cubicBezTo>
                    <a:cubicBezTo>
                      <a:pt x="19" y="23"/>
                      <a:pt x="18" y="24"/>
                      <a:pt x="18" y="25"/>
                    </a:cubicBezTo>
                    <a:cubicBezTo>
                      <a:pt x="18" y="25"/>
                      <a:pt x="19" y="26"/>
                      <a:pt x="19" y="26"/>
                    </a:cubicBezTo>
                    <a:close/>
                    <a:moveTo>
                      <a:pt x="24" y="10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6" y="29"/>
                      <a:pt x="26" y="29"/>
                      <a:pt x="26" y="29"/>
                    </a:cubicBezTo>
                    <a:cubicBezTo>
                      <a:pt x="8" y="29"/>
                      <a:pt x="8" y="29"/>
                      <a:pt x="8" y="2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4" y="10"/>
                      <a:pt x="24" y="10"/>
                      <a:pt x="24" y="10"/>
                    </a:cubicBezTo>
                    <a:close/>
                    <a:moveTo>
                      <a:pt x="13" y="9"/>
                    </a:moveTo>
                    <a:cubicBezTo>
                      <a:pt x="12" y="10"/>
                      <a:pt x="12" y="10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9"/>
                      <a:pt x="11" y="9"/>
                      <a:pt x="12" y="8"/>
                    </a:cubicBezTo>
                    <a:cubicBezTo>
                      <a:pt x="13" y="7"/>
                      <a:pt x="13" y="7"/>
                      <a:pt x="13" y="6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1" y="5"/>
                      <a:pt x="10" y="5"/>
                      <a:pt x="9" y="5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1" y="3"/>
                      <a:pt x="12" y="3"/>
                    </a:cubicBezTo>
                    <a:cubicBezTo>
                      <a:pt x="14" y="3"/>
                      <a:pt x="15" y="4"/>
                      <a:pt x="15" y="6"/>
                    </a:cubicBezTo>
                    <a:cubicBezTo>
                      <a:pt x="15" y="7"/>
                      <a:pt x="15" y="8"/>
                      <a:pt x="13" y="9"/>
                    </a:cubicBezTo>
                    <a:close/>
                    <a:moveTo>
                      <a:pt x="11" y="15"/>
                    </a:moveTo>
                    <a:cubicBezTo>
                      <a:pt x="11" y="15"/>
                      <a:pt x="10" y="15"/>
                      <a:pt x="10" y="14"/>
                    </a:cubicBezTo>
                    <a:cubicBezTo>
                      <a:pt x="10" y="13"/>
                      <a:pt x="11" y="13"/>
                      <a:pt x="11" y="13"/>
                    </a:cubicBezTo>
                    <a:cubicBezTo>
                      <a:pt x="12" y="13"/>
                      <a:pt x="13" y="13"/>
                      <a:pt x="13" y="14"/>
                    </a:cubicBezTo>
                    <a:cubicBezTo>
                      <a:pt x="13" y="15"/>
                      <a:pt x="12" y="15"/>
                      <a:pt x="11" y="15"/>
                    </a:cubicBezTo>
                    <a:close/>
                    <a:moveTo>
                      <a:pt x="0" y="0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63"/>
              <p:cNvSpPr>
                <a:spLocks noEditPoints="1"/>
              </p:cNvSpPr>
              <p:nvPr/>
            </p:nvSpPr>
            <p:spPr bwMode="auto">
              <a:xfrm>
                <a:off x="9499466" y="3317288"/>
                <a:ext cx="150667" cy="110000"/>
              </a:xfrm>
              <a:custGeom>
                <a:avLst/>
                <a:gdLst>
                  <a:gd name="T0" fmla="*/ 24 w 41"/>
                  <a:gd name="T1" fmla="*/ 0 h 30"/>
                  <a:gd name="T2" fmla="*/ 13 w 41"/>
                  <a:gd name="T3" fmla="*/ 4 h 30"/>
                  <a:gd name="T4" fmla="*/ 7 w 41"/>
                  <a:gd name="T5" fmla="*/ 12 h 30"/>
                  <a:gd name="T6" fmla="*/ 7 w 41"/>
                  <a:gd name="T7" fmla="*/ 26 h 30"/>
                  <a:gd name="T8" fmla="*/ 21 w 41"/>
                  <a:gd name="T9" fmla="*/ 26 h 30"/>
                  <a:gd name="T10" fmla="*/ 21 w 41"/>
                  <a:gd name="T11" fmla="*/ 27 h 30"/>
                  <a:gd name="T12" fmla="*/ 20 w 41"/>
                  <a:gd name="T13" fmla="*/ 27 h 30"/>
                  <a:gd name="T14" fmla="*/ 21 w 41"/>
                  <a:gd name="T15" fmla="*/ 28 h 30"/>
                  <a:gd name="T16" fmla="*/ 22 w 41"/>
                  <a:gd name="T17" fmla="*/ 27 h 30"/>
                  <a:gd name="T18" fmla="*/ 22 w 41"/>
                  <a:gd name="T19" fmla="*/ 29 h 30"/>
                  <a:gd name="T20" fmla="*/ 22 w 41"/>
                  <a:gd name="T21" fmla="*/ 29 h 30"/>
                  <a:gd name="T22" fmla="*/ 23 w 41"/>
                  <a:gd name="T23" fmla="*/ 30 h 30"/>
                  <a:gd name="T24" fmla="*/ 23 w 41"/>
                  <a:gd name="T25" fmla="*/ 29 h 30"/>
                  <a:gd name="T26" fmla="*/ 24 w 41"/>
                  <a:gd name="T27" fmla="*/ 30 h 30"/>
                  <a:gd name="T28" fmla="*/ 25 w 41"/>
                  <a:gd name="T29" fmla="*/ 30 h 30"/>
                  <a:gd name="T30" fmla="*/ 25 w 41"/>
                  <a:gd name="T31" fmla="*/ 30 h 30"/>
                  <a:gd name="T32" fmla="*/ 25 w 41"/>
                  <a:gd name="T33" fmla="*/ 29 h 30"/>
                  <a:gd name="T34" fmla="*/ 27 w 41"/>
                  <a:gd name="T35" fmla="*/ 29 h 30"/>
                  <a:gd name="T36" fmla="*/ 28 w 41"/>
                  <a:gd name="T37" fmla="*/ 29 h 30"/>
                  <a:gd name="T38" fmla="*/ 27 w 41"/>
                  <a:gd name="T39" fmla="*/ 28 h 30"/>
                  <a:gd name="T40" fmla="*/ 29 w 41"/>
                  <a:gd name="T41" fmla="*/ 27 h 30"/>
                  <a:gd name="T42" fmla="*/ 29 w 41"/>
                  <a:gd name="T43" fmla="*/ 27 h 30"/>
                  <a:gd name="T44" fmla="*/ 29 w 41"/>
                  <a:gd name="T45" fmla="*/ 26 h 30"/>
                  <a:gd name="T46" fmla="*/ 32 w 41"/>
                  <a:gd name="T47" fmla="*/ 26 h 30"/>
                  <a:gd name="T48" fmla="*/ 32 w 41"/>
                  <a:gd name="T49" fmla="*/ 8 h 30"/>
                  <a:gd name="T50" fmla="*/ 25 w 41"/>
                  <a:gd name="T51" fmla="*/ 28 h 30"/>
                  <a:gd name="T52" fmla="*/ 27 w 41"/>
                  <a:gd name="T53" fmla="*/ 26 h 30"/>
                  <a:gd name="T54" fmla="*/ 32 w 41"/>
                  <a:gd name="T55" fmla="*/ 24 h 30"/>
                  <a:gd name="T56" fmla="*/ 7 w 41"/>
                  <a:gd name="T57" fmla="*/ 24 h 30"/>
                  <a:gd name="T58" fmla="*/ 7 w 41"/>
                  <a:gd name="T59" fmla="*/ 14 h 30"/>
                  <a:gd name="T60" fmla="*/ 9 w 41"/>
                  <a:gd name="T61" fmla="*/ 14 h 30"/>
                  <a:gd name="T62" fmla="*/ 13 w 41"/>
                  <a:gd name="T63" fmla="*/ 5 h 30"/>
                  <a:gd name="T64" fmla="*/ 24 w 41"/>
                  <a:gd name="T65" fmla="*/ 2 h 30"/>
                  <a:gd name="T66" fmla="*/ 30 w 41"/>
                  <a:gd name="T67" fmla="*/ 10 h 30"/>
                  <a:gd name="T68" fmla="*/ 39 w 41"/>
                  <a:gd name="T69" fmla="*/ 1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" h="30">
                    <a:moveTo>
                      <a:pt x="32" y="8"/>
                    </a:moveTo>
                    <a:cubicBezTo>
                      <a:pt x="32" y="4"/>
                      <a:pt x="28" y="0"/>
                      <a:pt x="24" y="0"/>
                    </a:cubicBezTo>
                    <a:cubicBezTo>
                      <a:pt x="21" y="0"/>
                      <a:pt x="18" y="2"/>
                      <a:pt x="17" y="5"/>
                    </a:cubicBezTo>
                    <a:cubicBezTo>
                      <a:pt x="15" y="4"/>
                      <a:pt x="14" y="4"/>
                      <a:pt x="13" y="4"/>
                    </a:cubicBezTo>
                    <a:cubicBezTo>
                      <a:pt x="9" y="4"/>
                      <a:pt x="6" y="7"/>
                      <a:pt x="6" y="10"/>
                    </a:cubicBezTo>
                    <a:cubicBezTo>
                      <a:pt x="6" y="11"/>
                      <a:pt x="6" y="12"/>
                      <a:pt x="7" y="12"/>
                    </a:cubicBezTo>
                    <a:cubicBezTo>
                      <a:pt x="3" y="13"/>
                      <a:pt x="0" y="16"/>
                      <a:pt x="0" y="19"/>
                    </a:cubicBezTo>
                    <a:cubicBezTo>
                      <a:pt x="0" y="23"/>
                      <a:pt x="3" y="26"/>
                      <a:pt x="7" y="26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20" y="27"/>
                      <a:pt x="20" y="27"/>
                      <a:pt x="20" y="27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3" y="29"/>
                      <a:pt x="23" y="29"/>
                      <a:pt x="23" y="29"/>
                    </a:cubicBezTo>
                    <a:cubicBezTo>
                      <a:pt x="23" y="29"/>
                      <a:pt x="23" y="29"/>
                      <a:pt x="23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30"/>
                      <a:pt x="25" y="30"/>
                      <a:pt x="25" y="30"/>
                    </a:cubicBezTo>
                    <a:cubicBezTo>
                      <a:pt x="25" y="29"/>
                      <a:pt x="25" y="29"/>
                      <a:pt x="25" y="29"/>
                    </a:cubicBezTo>
                    <a:cubicBezTo>
                      <a:pt x="26" y="29"/>
                      <a:pt x="26" y="29"/>
                      <a:pt x="27" y="29"/>
                    </a:cubicBezTo>
                    <a:cubicBezTo>
                      <a:pt x="27" y="29"/>
                      <a:pt x="27" y="29"/>
                      <a:pt x="27" y="29"/>
                    </a:cubicBezTo>
                    <a:cubicBezTo>
                      <a:pt x="27" y="30"/>
                      <a:pt x="27" y="30"/>
                      <a:pt x="27" y="30"/>
                    </a:cubicBezTo>
                    <a:cubicBezTo>
                      <a:pt x="28" y="30"/>
                      <a:pt x="28" y="29"/>
                      <a:pt x="28" y="29"/>
                    </a:cubicBezTo>
                    <a:cubicBezTo>
                      <a:pt x="28" y="29"/>
                      <a:pt x="28" y="29"/>
                      <a:pt x="28" y="29"/>
                    </a:cubicBezTo>
                    <a:cubicBezTo>
                      <a:pt x="27" y="28"/>
                      <a:pt x="27" y="28"/>
                      <a:pt x="27" y="28"/>
                    </a:cubicBezTo>
                    <a:cubicBezTo>
                      <a:pt x="28" y="28"/>
                      <a:pt x="28" y="28"/>
                      <a:pt x="28" y="27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29" y="27"/>
                      <a:pt x="29" y="27"/>
                      <a:pt x="29" y="27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32" y="26"/>
                      <a:pt x="32" y="26"/>
                      <a:pt x="32" y="26"/>
                    </a:cubicBezTo>
                    <a:cubicBezTo>
                      <a:pt x="37" y="26"/>
                      <a:pt x="41" y="22"/>
                      <a:pt x="41" y="17"/>
                    </a:cubicBezTo>
                    <a:cubicBezTo>
                      <a:pt x="41" y="12"/>
                      <a:pt x="37" y="8"/>
                      <a:pt x="32" y="8"/>
                    </a:cubicBezTo>
                    <a:close/>
                    <a:moveTo>
                      <a:pt x="27" y="26"/>
                    </a:moveTo>
                    <a:cubicBezTo>
                      <a:pt x="27" y="27"/>
                      <a:pt x="26" y="28"/>
                      <a:pt x="25" y="28"/>
                    </a:cubicBezTo>
                    <a:cubicBezTo>
                      <a:pt x="23" y="28"/>
                      <a:pt x="23" y="27"/>
                      <a:pt x="23" y="26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27" y="26"/>
                      <a:pt x="27" y="26"/>
                      <a:pt x="27" y="26"/>
                    </a:cubicBezTo>
                    <a:close/>
                    <a:moveTo>
                      <a:pt x="32" y="24"/>
                    </a:moveTo>
                    <a:cubicBezTo>
                      <a:pt x="7" y="24"/>
                      <a:pt x="7" y="24"/>
                      <a:pt x="7" y="24"/>
                    </a:cubicBezTo>
                    <a:cubicBezTo>
                      <a:pt x="7" y="24"/>
                      <a:pt x="7" y="24"/>
                      <a:pt x="7" y="24"/>
                    </a:cubicBezTo>
                    <a:cubicBezTo>
                      <a:pt x="4" y="24"/>
                      <a:pt x="2" y="22"/>
                      <a:pt x="2" y="19"/>
                    </a:cubicBezTo>
                    <a:cubicBezTo>
                      <a:pt x="2" y="16"/>
                      <a:pt x="4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8" y="13"/>
                      <a:pt x="8" y="12"/>
                      <a:pt x="8" y="10"/>
                    </a:cubicBezTo>
                    <a:cubicBezTo>
                      <a:pt x="8" y="7"/>
                      <a:pt x="10" y="5"/>
                      <a:pt x="13" y="5"/>
                    </a:cubicBezTo>
                    <a:cubicBezTo>
                      <a:pt x="15" y="5"/>
                      <a:pt x="16" y="6"/>
                      <a:pt x="17" y="7"/>
                    </a:cubicBezTo>
                    <a:cubicBezTo>
                      <a:pt x="18" y="4"/>
                      <a:pt x="20" y="2"/>
                      <a:pt x="24" y="2"/>
                    </a:cubicBezTo>
                    <a:cubicBezTo>
                      <a:pt x="27" y="2"/>
                      <a:pt x="30" y="5"/>
                      <a:pt x="30" y="8"/>
                    </a:cubicBezTo>
                    <a:cubicBezTo>
                      <a:pt x="30" y="9"/>
                      <a:pt x="30" y="9"/>
                      <a:pt x="30" y="10"/>
                    </a:cubicBezTo>
                    <a:cubicBezTo>
                      <a:pt x="31" y="10"/>
                      <a:pt x="31" y="10"/>
                      <a:pt x="32" y="10"/>
                    </a:cubicBezTo>
                    <a:cubicBezTo>
                      <a:pt x="36" y="10"/>
                      <a:pt x="39" y="13"/>
                      <a:pt x="39" y="17"/>
                    </a:cubicBezTo>
                    <a:cubicBezTo>
                      <a:pt x="39" y="21"/>
                      <a:pt x="36" y="24"/>
                      <a:pt x="32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64"/>
              <p:cNvSpPr>
                <a:spLocks noEditPoints="1"/>
              </p:cNvSpPr>
              <p:nvPr/>
            </p:nvSpPr>
            <p:spPr bwMode="auto">
              <a:xfrm>
                <a:off x="9547466" y="3427288"/>
                <a:ext cx="29333" cy="29333"/>
              </a:xfrm>
              <a:custGeom>
                <a:avLst/>
                <a:gdLst>
                  <a:gd name="T0" fmla="*/ 4 w 8"/>
                  <a:gd name="T1" fmla="*/ 0 h 8"/>
                  <a:gd name="T2" fmla="*/ 0 w 8"/>
                  <a:gd name="T3" fmla="*/ 4 h 8"/>
                  <a:gd name="T4" fmla="*/ 5 w 8"/>
                  <a:gd name="T5" fmla="*/ 8 h 8"/>
                  <a:gd name="T6" fmla="*/ 8 w 8"/>
                  <a:gd name="T7" fmla="*/ 3 h 8"/>
                  <a:gd name="T8" fmla="*/ 4 w 8"/>
                  <a:gd name="T9" fmla="*/ 0 h 8"/>
                  <a:gd name="T10" fmla="*/ 4 w 8"/>
                  <a:gd name="T11" fmla="*/ 5 h 8"/>
                  <a:gd name="T12" fmla="*/ 3 w 8"/>
                  <a:gd name="T13" fmla="*/ 4 h 8"/>
                  <a:gd name="T14" fmla="*/ 4 w 8"/>
                  <a:gd name="T15" fmla="*/ 3 h 8"/>
                  <a:gd name="T16" fmla="*/ 5 w 8"/>
                  <a:gd name="T17" fmla="*/ 4 h 8"/>
                  <a:gd name="T18" fmla="*/ 4 w 8"/>
                  <a:gd name="T1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5" y="8"/>
                    </a:cubicBezTo>
                    <a:cubicBezTo>
                      <a:pt x="7" y="7"/>
                      <a:pt x="8" y="6"/>
                      <a:pt x="8" y="3"/>
                    </a:cubicBezTo>
                    <a:cubicBezTo>
                      <a:pt x="8" y="1"/>
                      <a:pt x="6" y="0"/>
                      <a:pt x="4" y="0"/>
                    </a:cubicBezTo>
                    <a:close/>
                    <a:moveTo>
                      <a:pt x="4" y="5"/>
                    </a:moveTo>
                    <a:cubicBezTo>
                      <a:pt x="4" y="5"/>
                      <a:pt x="3" y="4"/>
                      <a:pt x="3" y="4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3"/>
                      <a:pt x="5" y="3"/>
                      <a:pt x="5" y="4"/>
                    </a:cubicBezTo>
                    <a:cubicBezTo>
                      <a:pt x="5" y="4"/>
                      <a:pt x="5" y="5"/>
                      <a:pt x="4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65"/>
              <p:cNvSpPr>
                <a:spLocks noEditPoints="1"/>
              </p:cNvSpPr>
              <p:nvPr/>
            </p:nvSpPr>
            <p:spPr bwMode="auto">
              <a:xfrm>
                <a:off x="9536133" y="3416621"/>
                <a:ext cx="51334" cy="51334"/>
              </a:xfrm>
              <a:custGeom>
                <a:avLst/>
                <a:gdLst>
                  <a:gd name="T0" fmla="*/ 13 w 14"/>
                  <a:gd name="T1" fmla="*/ 6 h 14"/>
                  <a:gd name="T2" fmla="*/ 14 w 14"/>
                  <a:gd name="T3" fmla="*/ 6 h 14"/>
                  <a:gd name="T4" fmla="*/ 13 w 14"/>
                  <a:gd name="T5" fmla="*/ 5 h 14"/>
                  <a:gd name="T6" fmla="*/ 13 w 14"/>
                  <a:gd name="T7" fmla="*/ 4 h 14"/>
                  <a:gd name="T8" fmla="*/ 13 w 14"/>
                  <a:gd name="T9" fmla="*/ 3 h 14"/>
                  <a:gd name="T10" fmla="*/ 12 w 14"/>
                  <a:gd name="T11" fmla="*/ 3 h 14"/>
                  <a:gd name="T12" fmla="*/ 12 w 14"/>
                  <a:gd name="T13" fmla="*/ 2 h 14"/>
                  <a:gd name="T14" fmla="*/ 11 w 14"/>
                  <a:gd name="T15" fmla="*/ 1 h 14"/>
                  <a:gd name="T16" fmla="*/ 10 w 14"/>
                  <a:gd name="T17" fmla="*/ 1 h 14"/>
                  <a:gd name="T18" fmla="*/ 10 w 14"/>
                  <a:gd name="T19" fmla="*/ 0 h 14"/>
                  <a:gd name="T20" fmla="*/ 9 w 14"/>
                  <a:gd name="T21" fmla="*/ 0 h 14"/>
                  <a:gd name="T22" fmla="*/ 8 w 14"/>
                  <a:gd name="T23" fmla="*/ 0 h 14"/>
                  <a:gd name="T24" fmla="*/ 7 w 14"/>
                  <a:gd name="T25" fmla="*/ 0 h 14"/>
                  <a:gd name="T26" fmla="*/ 7 w 14"/>
                  <a:gd name="T27" fmla="*/ 1 h 14"/>
                  <a:gd name="T28" fmla="*/ 5 w 14"/>
                  <a:gd name="T29" fmla="*/ 0 h 14"/>
                  <a:gd name="T30" fmla="*/ 4 w 14"/>
                  <a:gd name="T31" fmla="*/ 0 h 14"/>
                  <a:gd name="T32" fmla="*/ 4 w 14"/>
                  <a:gd name="T33" fmla="*/ 2 h 14"/>
                  <a:gd name="T34" fmla="*/ 3 w 14"/>
                  <a:gd name="T35" fmla="*/ 1 h 14"/>
                  <a:gd name="T36" fmla="*/ 3 w 14"/>
                  <a:gd name="T37" fmla="*/ 2 h 14"/>
                  <a:gd name="T38" fmla="*/ 2 w 14"/>
                  <a:gd name="T39" fmla="*/ 3 h 14"/>
                  <a:gd name="T40" fmla="*/ 1 w 14"/>
                  <a:gd name="T41" fmla="*/ 3 h 14"/>
                  <a:gd name="T42" fmla="*/ 2 w 14"/>
                  <a:gd name="T43" fmla="*/ 4 h 14"/>
                  <a:gd name="T44" fmla="*/ 0 w 14"/>
                  <a:gd name="T45" fmla="*/ 5 h 14"/>
                  <a:gd name="T46" fmla="*/ 0 w 14"/>
                  <a:gd name="T47" fmla="*/ 6 h 14"/>
                  <a:gd name="T48" fmla="*/ 1 w 14"/>
                  <a:gd name="T49" fmla="*/ 7 h 14"/>
                  <a:gd name="T50" fmla="*/ 0 w 14"/>
                  <a:gd name="T51" fmla="*/ 7 h 14"/>
                  <a:gd name="T52" fmla="*/ 0 w 14"/>
                  <a:gd name="T53" fmla="*/ 8 h 14"/>
                  <a:gd name="T54" fmla="*/ 2 w 14"/>
                  <a:gd name="T55" fmla="*/ 9 h 14"/>
                  <a:gd name="T56" fmla="*/ 1 w 14"/>
                  <a:gd name="T57" fmla="*/ 10 h 14"/>
                  <a:gd name="T58" fmla="*/ 2 w 14"/>
                  <a:gd name="T59" fmla="*/ 10 h 14"/>
                  <a:gd name="T60" fmla="*/ 3 w 14"/>
                  <a:gd name="T61" fmla="*/ 11 h 14"/>
                  <a:gd name="T62" fmla="*/ 4 w 14"/>
                  <a:gd name="T63" fmla="*/ 12 h 14"/>
                  <a:gd name="T64" fmla="*/ 4 w 14"/>
                  <a:gd name="T65" fmla="*/ 13 h 14"/>
                  <a:gd name="T66" fmla="*/ 5 w 14"/>
                  <a:gd name="T67" fmla="*/ 13 h 14"/>
                  <a:gd name="T68" fmla="*/ 6 w 14"/>
                  <a:gd name="T69" fmla="*/ 12 h 14"/>
                  <a:gd name="T70" fmla="*/ 7 w 14"/>
                  <a:gd name="T71" fmla="*/ 14 h 14"/>
                  <a:gd name="T72" fmla="*/ 8 w 14"/>
                  <a:gd name="T73" fmla="*/ 14 h 14"/>
                  <a:gd name="T74" fmla="*/ 9 w 14"/>
                  <a:gd name="T75" fmla="*/ 12 h 14"/>
                  <a:gd name="T76" fmla="*/ 9 w 14"/>
                  <a:gd name="T77" fmla="*/ 13 h 14"/>
                  <a:gd name="T78" fmla="*/ 10 w 14"/>
                  <a:gd name="T79" fmla="*/ 13 h 14"/>
                  <a:gd name="T80" fmla="*/ 11 w 14"/>
                  <a:gd name="T81" fmla="*/ 12 h 14"/>
                  <a:gd name="T82" fmla="*/ 12 w 14"/>
                  <a:gd name="T83" fmla="*/ 11 h 14"/>
                  <a:gd name="T84" fmla="*/ 12 w 14"/>
                  <a:gd name="T85" fmla="*/ 10 h 14"/>
                  <a:gd name="T86" fmla="*/ 13 w 14"/>
                  <a:gd name="T87" fmla="*/ 10 h 14"/>
                  <a:gd name="T88" fmla="*/ 13 w 14"/>
                  <a:gd name="T89" fmla="*/ 9 h 14"/>
                  <a:gd name="T90" fmla="*/ 14 w 14"/>
                  <a:gd name="T91" fmla="*/ 8 h 14"/>
                  <a:gd name="T92" fmla="*/ 14 w 14"/>
                  <a:gd name="T93" fmla="*/ 7 h 14"/>
                  <a:gd name="T94" fmla="*/ 8 w 14"/>
                  <a:gd name="T95" fmla="*/ 11 h 14"/>
                  <a:gd name="T96" fmla="*/ 12 w 14"/>
                  <a:gd name="T97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" h="14">
                    <a:moveTo>
                      <a:pt x="13" y="7"/>
                    </a:move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3" y="6"/>
                      <a:pt x="13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3" y="5"/>
                      <a:pt x="13" y="5"/>
                      <a:pt x="13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3" y="4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1" y="3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1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1"/>
                      <a:pt x="4" y="2"/>
                      <a:pt x="4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5"/>
                      <a:pt x="2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1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3" y="10"/>
                      <a:pt x="3" y="11"/>
                      <a:pt x="3" y="11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3"/>
                      <a:pt x="6" y="13"/>
                      <a:pt x="7" y="13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4"/>
                      <a:pt x="8" y="14"/>
                      <a:pt x="8" y="14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8" y="13"/>
                      <a:pt x="9" y="12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2" y="11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3" y="9"/>
                      <a:pt x="13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8"/>
                      <a:pt x="14" y="8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lnTo>
                      <a:pt x="13" y="7"/>
                    </a:lnTo>
                    <a:close/>
                    <a:moveTo>
                      <a:pt x="8" y="11"/>
                    </a:moveTo>
                    <a:cubicBezTo>
                      <a:pt x="5" y="12"/>
                      <a:pt x="3" y="10"/>
                      <a:pt x="3" y="7"/>
                    </a:cubicBezTo>
                    <a:cubicBezTo>
                      <a:pt x="2" y="5"/>
                      <a:pt x="4" y="2"/>
                      <a:pt x="7" y="2"/>
                    </a:cubicBezTo>
                    <a:cubicBezTo>
                      <a:pt x="9" y="2"/>
                      <a:pt x="12" y="4"/>
                      <a:pt x="12" y="6"/>
                    </a:cubicBezTo>
                    <a:cubicBezTo>
                      <a:pt x="12" y="9"/>
                      <a:pt x="10" y="11"/>
                      <a:pt x="8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66"/>
              <p:cNvSpPr>
                <a:spLocks/>
              </p:cNvSpPr>
              <p:nvPr/>
            </p:nvSpPr>
            <p:spPr bwMode="auto">
              <a:xfrm>
                <a:off x="10226133" y="3387288"/>
                <a:ext cx="106667" cy="106000"/>
              </a:xfrm>
              <a:custGeom>
                <a:avLst/>
                <a:gdLst>
                  <a:gd name="T0" fmla="*/ 9 w 29"/>
                  <a:gd name="T1" fmla="*/ 16 h 29"/>
                  <a:gd name="T2" fmla="*/ 20 w 29"/>
                  <a:gd name="T3" fmla="*/ 21 h 29"/>
                  <a:gd name="T4" fmla="*/ 24 w 29"/>
                  <a:gd name="T5" fmla="*/ 19 h 29"/>
                  <a:gd name="T6" fmla="*/ 29 w 29"/>
                  <a:gd name="T7" fmla="*/ 24 h 29"/>
                  <a:gd name="T8" fmla="*/ 24 w 29"/>
                  <a:gd name="T9" fmla="*/ 29 h 29"/>
                  <a:gd name="T10" fmla="*/ 19 w 29"/>
                  <a:gd name="T11" fmla="*/ 24 h 29"/>
                  <a:gd name="T12" fmla="*/ 19 w 29"/>
                  <a:gd name="T13" fmla="*/ 23 h 29"/>
                  <a:gd name="T14" fmla="*/ 8 w 29"/>
                  <a:gd name="T15" fmla="*/ 17 h 29"/>
                  <a:gd name="T16" fmla="*/ 4 w 29"/>
                  <a:gd name="T17" fmla="*/ 19 h 29"/>
                  <a:gd name="T18" fmla="*/ 0 w 29"/>
                  <a:gd name="T19" fmla="*/ 14 h 29"/>
                  <a:gd name="T20" fmla="*/ 4 w 29"/>
                  <a:gd name="T21" fmla="*/ 9 h 29"/>
                  <a:gd name="T22" fmla="*/ 8 w 29"/>
                  <a:gd name="T23" fmla="*/ 11 h 29"/>
                  <a:gd name="T24" fmla="*/ 19 w 29"/>
                  <a:gd name="T25" fmla="*/ 6 h 29"/>
                  <a:gd name="T26" fmla="*/ 19 w 29"/>
                  <a:gd name="T27" fmla="*/ 4 h 29"/>
                  <a:gd name="T28" fmla="*/ 24 w 29"/>
                  <a:gd name="T29" fmla="*/ 0 h 29"/>
                  <a:gd name="T30" fmla="*/ 29 w 29"/>
                  <a:gd name="T31" fmla="*/ 4 h 29"/>
                  <a:gd name="T32" fmla="*/ 24 w 29"/>
                  <a:gd name="T33" fmla="*/ 9 h 29"/>
                  <a:gd name="T34" fmla="*/ 20 w 29"/>
                  <a:gd name="T35" fmla="*/ 8 h 29"/>
                  <a:gd name="T36" fmla="*/ 9 w 29"/>
                  <a:gd name="T37" fmla="*/ 13 h 29"/>
                  <a:gd name="T38" fmla="*/ 9 w 29"/>
                  <a:gd name="T39" fmla="*/ 14 h 29"/>
                  <a:gd name="T40" fmla="*/ 9 w 29"/>
                  <a:gd name="T41" fmla="*/ 1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29">
                    <a:moveTo>
                      <a:pt x="9" y="16"/>
                    </a:moveTo>
                    <a:cubicBezTo>
                      <a:pt x="20" y="21"/>
                      <a:pt x="20" y="21"/>
                      <a:pt x="20" y="21"/>
                    </a:cubicBezTo>
                    <a:cubicBezTo>
                      <a:pt x="21" y="20"/>
                      <a:pt x="23" y="19"/>
                      <a:pt x="24" y="19"/>
                    </a:cubicBezTo>
                    <a:cubicBezTo>
                      <a:pt x="27" y="19"/>
                      <a:pt x="29" y="21"/>
                      <a:pt x="29" y="24"/>
                    </a:cubicBezTo>
                    <a:cubicBezTo>
                      <a:pt x="29" y="27"/>
                      <a:pt x="27" y="29"/>
                      <a:pt x="24" y="29"/>
                    </a:cubicBezTo>
                    <a:cubicBezTo>
                      <a:pt x="21" y="29"/>
                      <a:pt x="19" y="27"/>
                      <a:pt x="19" y="24"/>
                    </a:cubicBezTo>
                    <a:cubicBezTo>
                      <a:pt x="19" y="24"/>
                      <a:pt x="19" y="23"/>
                      <a:pt x="19" y="23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8"/>
                      <a:pt x="6" y="19"/>
                      <a:pt x="4" y="19"/>
                    </a:cubicBezTo>
                    <a:cubicBezTo>
                      <a:pt x="2" y="19"/>
                      <a:pt x="0" y="17"/>
                      <a:pt x="0" y="14"/>
                    </a:cubicBezTo>
                    <a:cubicBezTo>
                      <a:pt x="0" y="12"/>
                      <a:pt x="2" y="9"/>
                      <a:pt x="4" y="9"/>
                    </a:cubicBezTo>
                    <a:cubicBezTo>
                      <a:pt x="6" y="9"/>
                      <a:pt x="7" y="10"/>
                      <a:pt x="8" y="11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5"/>
                      <a:pt x="19" y="5"/>
                      <a:pt x="19" y="4"/>
                    </a:cubicBezTo>
                    <a:cubicBezTo>
                      <a:pt x="19" y="2"/>
                      <a:pt x="21" y="0"/>
                      <a:pt x="24" y="0"/>
                    </a:cubicBezTo>
                    <a:cubicBezTo>
                      <a:pt x="27" y="0"/>
                      <a:pt x="29" y="2"/>
                      <a:pt x="29" y="4"/>
                    </a:cubicBezTo>
                    <a:cubicBezTo>
                      <a:pt x="29" y="7"/>
                      <a:pt x="27" y="9"/>
                      <a:pt x="24" y="9"/>
                    </a:cubicBezTo>
                    <a:cubicBezTo>
                      <a:pt x="23" y="9"/>
                      <a:pt x="21" y="9"/>
                      <a:pt x="20" y="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4"/>
                      <a:pt x="9" y="14"/>
                    </a:cubicBezTo>
                    <a:cubicBezTo>
                      <a:pt x="9" y="15"/>
                      <a:pt x="9" y="15"/>
                      <a:pt x="9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67"/>
              <p:cNvSpPr>
                <a:spLocks noEditPoints="1"/>
              </p:cNvSpPr>
              <p:nvPr/>
            </p:nvSpPr>
            <p:spPr bwMode="auto">
              <a:xfrm>
                <a:off x="9646133" y="3633288"/>
                <a:ext cx="136000" cy="135334"/>
              </a:xfrm>
              <a:custGeom>
                <a:avLst/>
                <a:gdLst>
                  <a:gd name="T0" fmla="*/ 0 w 37"/>
                  <a:gd name="T1" fmla="*/ 19 h 37"/>
                  <a:gd name="T2" fmla="*/ 37 w 37"/>
                  <a:gd name="T3" fmla="*/ 19 h 37"/>
                  <a:gd name="T4" fmla="*/ 14 w 37"/>
                  <a:gd name="T5" fmla="*/ 2 h 37"/>
                  <a:gd name="T6" fmla="*/ 4 w 37"/>
                  <a:gd name="T7" fmla="*/ 9 h 37"/>
                  <a:gd name="T8" fmla="*/ 3 w 37"/>
                  <a:gd name="T9" fmla="*/ 10 h 37"/>
                  <a:gd name="T10" fmla="*/ 8 w 37"/>
                  <a:gd name="T11" fmla="*/ 18 h 37"/>
                  <a:gd name="T12" fmla="*/ 3 w 37"/>
                  <a:gd name="T13" fmla="*/ 10 h 37"/>
                  <a:gd name="T14" fmla="*/ 8 w 37"/>
                  <a:gd name="T15" fmla="*/ 19 h 37"/>
                  <a:gd name="T16" fmla="*/ 3 w 37"/>
                  <a:gd name="T17" fmla="*/ 27 h 37"/>
                  <a:gd name="T18" fmla="*/ 4 w 37"/>
                  <a:gd name="T19" fmla="*/ 28 h 37"/>
                  <a:gd name="T20" fmla="*/ 14 w 37"/>
                  <a:gd name="T21" fmla="*/ 35 h 37"/>
                  <a:gd name="T22" fmla="*/ 18 w 37"/>
                  <a:gd name="T23" fmla="*/ 36 h 37"/>
                  <a:gd name="T24" fmla="*/ 11 w 37"/>
                  <a:gd name="T25" fmla="*/ 28 h 37"/>
                  <a:gd name="T26" fmla="*/ 18 w 37"/>
                  <a:gd name="T27" fmla="*/ 36 h 37"/>
                  <a:gd name="T28" fmla="*/ 11 w 37"/>
                  <a:gd name="T29" fmla="*/ 27 h 37"/>
                  <a:gd name="T30" fmla="*/ 18 w 37"/>
                  <a:gd name="T31" fmla="*/ 19 h 37"/>
                  <a:gd name="T32" fmla="*/ 18 w 37"/>
                  <a:gd name="T33" fmla="*/ 18 h 37"/>
                  <a:gd name="T34" fmla="*/ 11 w 37"/>
                  <a:gd name="T35" fmla="*/ 10 h 37"/>
                  <a:gd name="T36" fmla="*/ 18 w 37"/>
                  <a:gd name="T37" fmla="*/ 18 h 37"/>
                  <a:gd name="T38" fmla="*/ 11 w 37"/>
                  <a:gd name="T39" fmla="*/ 9 h 37"/>
                  <a:gd name="T40" fmla="*/ 18 w 37"/>
                  <a:gd name="T41" fmla="*/ 1 h 37"/>
                  <a:gd name="T42" fmla="*/ 35 w 37"/>
                  <a:gd name="T43" fmla="*/ 18 h 37"/>
                  <a:gd name="T44" fmla="*/ 27 w 37"/>
                  <a:gd name="T45" fmla="*/ 10 h 37"/>
                  <a:gd name="T46" fmla="*/ 35 w 37"/>
                  <a:gd name="T47" fmla="*/ 18 h 37"/>
                  <a:gd name="T48" fmla="*/ 26 w 37"/>
                  <a:gd name="T49" fmla="*/ 9 h 37"/>
                  <a:gd name="T50" fmla="*/ 32 w 37"/>
                  <a:gd name="T51" fmla="*/ 9 h 37"/>
                  <a:gd name="T52" fmla="*/ 24 w 37"/>
                  <a:gd name="T53" fmla="*/ 6 h 37"/>
                  <a:gd name="T54" fmla="*/ 19 w 37"/>
                  <a:gd name="T55" fmla="*/ 9 h 37"/>
                  <a:gd name="T56" fmla="*/ 19 w 37"/>
                  <a:gd name="T57" fmla="*/ 10 h 37"/>
                  <a:gd name="T58" fmla="*/ 26 w 37"/>
                  <a:gd name="T59" fmla="*/ 18 h 37"/>
                  <a:gd name="T60" fmla="*/ 19 w 37"/>
                  <a:gd name="T61" fmla="*/ 10 h 37"/>
                  <a:gd name="T62" fmla="*/ 26 w 37"/>
                  <a:gd name="T63" fmla="*/ 19 h 37"/>
                  <a:gd name="T64" fmla="*/ 19 w 37"/>
                  <a:gd name="T65" fmla="*/ 27 h 37"/>
                  <a:gd name="T66" fmla="*/ 19 w 37"/>
                  <a:gd name="T67" fmla="*/ 36 h 37"/>
                  <a:gd name="T68" fmla="*/ 25 w 37"/>
                  <a:gd name="T69" fmla="*/ 28 h 37"/>
                  <a:gd name="T70" fmla="*/ 19 w 37"/>
                  <a:gd name="T71" fmla="*/ 36 h 37"/>
                  <a:gd name="T72" fmla="*/ 26 w 37"/>
                  <a:gd name="T73" fmla="*/ 28 h 37"/>
                  <a:gd name="T74" fmla="*/ 22 w 37"/>
                  <a:gd name="T75" fmla="*/ 35 h 37"/>
                  <a:gd name="T76" fmla="*/ 27 w 37"/>
                  <a:gd name="T77" fmla="*/ 27 h 37"/>
                  <a:gd name="T78" fmla="*/ 35 w 37"/>
                  <a:gd name="T79" fmla="*/ 1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7" h="37">
                    <a:moveTo>
                      <a:pt x="18" y="0"/>
                    </a:moveTo>
                    <a:cubicBezTo>
                      <a:pt x="8" y="0"/>
                      <a:pt x="0" y="8"/>
                      <a:pt x="0" y="19"/>
                    </a:cubicBezTo>
                    <a:cubicBezTo>
                      <a:pt x="0" y="29"/>
                      <a:pt x="8" y="37"/>
                      <a:pt x="18" y="37"/>
                    </a:cubicBezTo>
                    <a:cubicBezTo>
                      <a:pt x="28" y="37"/>
                      <a:pt x="37" y="29"/>
                      <a:pt x="37" y="19"/>
                    </a:cubicBezTo>
                    <a:cubicBezTo>
                      <a:pt x="37" y="8"/>
                      <a:pt x="28" y="0"/>
                      <a:pt x="18" y="0"/>
                    </a:cubicBezTo>
                    <a:close/>
                    <a:moveTo>
                      <a:pt x="14" y="2"/>
                    </a:moveTo>
                    <a:cubicBezTo>
                      <a:pt x="12" y="4"/>
                      <a:pt x="11" y="6"/>
                      <a:pt x="10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6" y="6"/>
                      <a:pt x="10" y="3"/>
                      <a:pt x="14" y="2"/>
                    </a:cubicBezTo>
                    <a:close/>
                    <a:moveTo>
                      <a:pt x="3" y="10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9" y="12"/>
                      <a:pt x="8" y="15"/>
                      <a:pt x="8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5"/>
                      <a:pt x="2" y="12"/>
                      <a:pt x="3" y="10"/>
                    </a:cubicBezTo>
                    <a:close/>
                    <a:moveTo>
                      <a:pt x="1" y="19"/>
                    </a:moveTo>
                    <a:cubicBezTo>
                      <a:pt x="8" y="19"/>
                      <a:pt x="8" y="19"/>
                      <a:pt x="8" y="19"/>
                    </a:cubicBezTo>
                    <a:cubicBezTo>
                      <a:pt x="8" y="22"/>
                      <a:pt x="9" y="25"/>
                      <a:pt x="9" y="27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2" y="25"/>
                      <a:pt x="1" y="22"/>
                      <a:pt x="1" y="19"/>
                    </a:cubicBezTo>
                    <a:close/>
                    <a:moveTo>
                      <a:pt x="4" y="28"/>
                    </a:moveTo>
                    <a:cubicBezTo>
                      <a:pt x="10" y="28"/>
                      <a:pt x="10" y="28"/>
                      <a:pt x="10" y="28"/>
                    </a:cubicBezTo>
                    <a:cubicBezTo>
                      <a:pt x="11" y="31"/>
                      <a:pt x="12" y="33"/>
                      <a:pt x="14" y="35"/>
                    </a:cubicBezTo>
                    <a:cubicBezTo>
                      <a:pt x="10" y="34"/>
                      <a:pt x="6" y="31"/>
                      <a:pt x="4" y="28"/>
                    </a:cubicBezTo>
                    <a:close/>
                    <a:moveTo>
                      <a:pt x="18" y="36"/>
                    </a:moveTo>
                    <a:cubicBezTo>
                      <a:pt x="16" y="35"/>
                      <a:pt x="14" y="34"/>
                      <a:pt x="12" y="31"/>
                    </a:cubicBezTo>
                    <a:cubicBezTo>
                      <a:pt x="12" y="30"/>
                      <a:pt x="11" y="29"/>
                      <a:pt x="11" y="28"/>
                    </a:cubicBezTo>
                    <a:cubicBezTo>
                      <a:pt x="18" y="28"/>
                      <a:pt x="18" y="28"/>
                      <a:pt x="18" y="28"/>
                    </a:cubicBezTo>
                    <a:lnTo>
                      <a:pt x="18" y="36"/>
                    </a:lnTo>
                    <a:close/>
                    <a:moveTo>
                      <a:pt x="18" y="27"/>
                    </a:moveTo>
                    <a:cubicBezTo>
                      <a:pt x="11" y="27"/>
                      <a:pt x="11" y="27"/>
                      <a:pt x="11" y="27"/>
                    </a:cubicBezTo>
                    <a:cubicBezTo>
                      <a:pt x="10" y="25"/>
                      <a:pt x="10" y="22"/>
                      <a:pt x="10" y="19"/>
                    </a:cubicBezTo>
                    <a:cubicBezTo>
                      <a:pt x="18" y="19"/>
                      <a:pt x="18" y="19"/>
                      <a:pt x="18" y="19"/>
                    </a:cubicBezTo>
                    <a:lnTo>
                      <a:pt x="18" y="27"/>
                    </a:lnTo>
                    <a:close/>
                    <a:moveTo>
                      <a:pt x="18" y="18"/>
                    </a:moveTo>
                    <a:cubicBezTo>
                      <a:pt x="10" y="18"/>
                      <a:pt x="10" y="18"/>
                      <a:pt x="10" y="18"/>
                    </a:cubicBezTo>
                    <a:cubicBezTo>
                      <a:pt x="10" y="15"/>
                      <a:pt x="10" y="13"/>
                      <a:pt x="11" y="10"/>
                    </a:cubicBezTo>
                    <a:cubicBezTo>
                      <a:pt x="18" y="10"/>
                      <a:pt x="18" y="10"/>
                      <a:pt x="18" y="10"/>
                    </a:cubicBezTo>
                    <a:lnTo>
                      <a:pt x="18" y="18"/>
                    </a:lnTo>
                    <a:close/>
                    <a:moveTo>
                      <a:pt x="18" y="9"/>
                    </a:moveTo>
                    <a:cubicBezTo>
                      <a:pt x="11" y="9"/>
                      <a:pt x="11" y="9"/>
                      <a:pt x="11" y="9"/>
                    </a:cubicBezTo>
                    <a:cubicBezTo>
                      <a:pt x="11" y="8"/>
                      <a:pt x="12" y="7"/>
                      <a:pt x="12" y="6"/>
                    </a:cubicBezTo>
                    <a:cubicBezTo>
                      <a:pt x="14" y="3"/>
                      <a:pt x="16" y="2"/>
                      <a:pt x="18" y="1"/>
                    </a:cubicBezTo>
                    <a:lnTo>
                      <a:pt x="18" y="9"/>
                    </a:lnTo>
                    <a:close/>
                    <a:moveTo>
                      <a:pt x="35" y="18"/>
                    </a:moveTo>
                    <a:cubicBezTo>
                      <a:pt x="28" y="18"/>
                      <a:pt x="28" y="18"/>
                      <a:pt x="28" y="18"/>
                    </a:cubicBezTo>
                    <a:cubicBezTo>
                      <a:pt x="28" y="15"/>
                      <a:pt x="27" y="12"/>
                      <a:pt x="27" y="10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4" y="12"/>
                      <a:pt x="35" y="15"/>
                      <a:pt x="35" y="18"/>
                    </a:cubicBezTo>
                    <a:close/>
                    <a:moveTo>
                      <a:pt x="32" y="9"/>
                    </a:moveTo>
                    <a:cubicBezTo>
                      <a:pt x="26" y="9"/>
                      <a:pt x="26" y="9"/>
                      <a:pt x="26" y="9"/>
                    </a:cubicBezTo>
                    <a:cubicBezTo>
                      <a:pt x="25" y="6"/>
                      <a:pt x="24" y="3"/>
                      <a:pt x="22" y="2"/>
                    </a:cubicBezTo>
                    <a:cubicBezTo>
                      <a:pt x="26" y="3"/>
                      <a:pt x="30" y="5"/>
                      <a:pt x="32" y="9"/>
                    </a:cubicBezTo>
                    <a:close/>
                    <a:moveTo>
                      <a:pt x="19" y="1"/>
                    </a:moveTo>
                    <a:cubicBezTo>
                      <a:pt x="21" y="2"/>
                      <a:pt x="22" y="4"/>
                      <a:pt x="24" y="6"/>
                    </a:cubicBezTo>
                    <a:cubicBezTo>
                      <a:pt x="24" y="7"/>
                      <a:pt x="25" y="8"/>
                      <a:pt x="25" y="9"/>
                    </a:cubicBezTo>
                    <a:cubicBezTo>
                      <a:pt x="19" y="9"/>
                      <a:pt x="19" y="9"/>
                      <a:pt x="19" y="9"/>
                    </a:cubicBezTo>
                    <a:lnTo>
                      <a:pt x="19" y="1"/>
                    </a:lnTo>
                    <a:close/>
                    <a:moveTo>
                      <a:pt x="19" y="10"/>
                    </a:moveTo>
                    <a:cubicBezTo>
                      <a:pt x="25" y="10"/>
                      <a:pt x="25" y="10"/>
                      <a:pt x="25" y="10"/>
                    </a:cubicBezTo>
                    <a:cubicBezTo>
                      <a:pt x="26" y="13"/>
                      <a:pt x="26" y="15"/>
                      <a:pt x="26" y="18"/>
                    </a:cubicBezTo>
                    <a:cubicBezTo>
                      <a:pt x="19" y="18"/>
                      <a:pt x="19" y="18"/>
                      <a:pt x="19" y="18"/>
                    </a:cubicBezTo>
                    <a:lnTo>
                      <a:pt x="19" y="10"/>
                    </a:lnTo>
                    <a:close/>
                    <a:moveTo>
                      <a:pt x="19" y="19"/>
                    </a:moveTo>
                    <a:cubicBezTo>
                      <a:pt x="26" y="19"/>
                      <a:pt x="26" y="19"/>
                      <a:pt x="26" y="19"/>
                    </a:cubicBezTo>
                    <a:cubicBezTo>
                      <a:pt x="26" y="22"/>
                      <a:pt x="26" y="25"/>
                      <a:pt x="25" y="27"/>
                    </a:cubicBezTo>
                    <a:cubicBezTo>
                      <a:pt x="19" y="27"/>
                      <a:pt x="19" y="27"/>
                      <a:pt x="19" y="27"/>
                    </a:cubicBezTo>
                    <a:lnTo>
                      <a:pt x="19" y="19"/>
                    </a:lnTo>
                    <a:close/>
                    <a:moveTo>
                      <a:pt x="19" y="36"/>
                    </a:moveTo>
                    <a:cubicBezTo>
                      <a:pt x="19" y="28"/>
                      <a:pt x="19" y="28"/>
                      <a:pt x="19" y="28"/>
                    </a:cubicBezTo>
                    <a:cubicBezTo>
                      <a:pt x="25" y="28"/>
                      <a:pt x="25" y="28"/>
                      <a:pt x="25" y="28"/>
                    </a:cubicBezTo>
                    <a:cubicBezTo>
                      <a:pt x="25" y="29"/>
                      <a:pt x="24" y="30"/>
                      <a:pt x="24" y="31"/>
                    </a:cubicBezTo>
                    <a:cubicBezTo>
                      <a:pt x="22" y="33"/>
                      <a:pt x="21" y="35"/>
                      <a:pt x="19" y="36"/>
                    </a:cubicBezTo>
                    <a:close/>
                    <a:moveTo>
                      <a:pt x="22" y="35"/>
                    </a:moveTo>
                    <a:cubicBezTo>
                      <a:pt x="24" y="34"/>
                      <a:pt x="25" y="31"/>
                      <a:pt x="26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0" y="32"/>
                      <a:pt x="26" y="34"/>
                      <a:pt x="22" y="35"/>
                    </a:cubicBezTo>
                    <a:close/>
                    <a:moveTo>
                      <a:pt x="33" y="27"/>
                    </a:moveTo>
                    <a:cubicBezTo>
                      <a:pt x="27" y="27"/>
                      <a:pt x="27" y="27"/>
                      <a:pt x="27" y="27"/>
                    </a:cubicBezTo>
                    <a:cubicBezTo>
                      <a:pt x="27" y="25"/>
                      <a:pt x="28" y="22"/>
                      <a:pt x="28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5" y="22"/>
                      <a:pt x="34" y="25"/>
                      <a:pt x="33" y="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68"/>
              <p:cNvSpPr>
                <a:spLocks noEditPoints="1"/>
              </p:cNvSpPr>
              <p:nvPr/>
            </p:nvSpPr>
            <p:spPr bwMode="auto">
              <a:xfrm>
                <a:off x="9906800" y="4124621"/>
                <a:ext cx="114000" cy="114000"/>
              </a:xfrm>
              <a:custGeom>
                <a:avLst/>
                <a:gdLst>
                  <a:gd name="T0" fmla="*/ 14 w 31"/>
                  <a:gd name="T1" fmla="*/ 31 h 31"/>
                  <a:gd name="T2" fmla="*/ 10 w 31"/>
                  <a:gd name="T3" fmla="*/ 31 h 31"/>
                  <a:gd name="T4" fmla="*/ 7 w 31"/>
                  <a:gd name="T5" fmla="*/ 24 h 31"/>
                  <a:gd name="T6" fmla="*/ 1 w 31"/>
                  <a:gd name="T7" fmla="*/ 21 h 31"/>
                  <a:gd name="T8" fmla="*/ 1 w 31"/>
                  <a:gd name="T9" fmla="*/ 17 h 31"/>
                  <a:gd name="T10" fmla="*/ 10 w 31"/>
                  <a:gd name="T11" fmla="*/ 21 h 31"/>
                  <a:gd name="T12" fmla="*/ 14 w 31"/>
                  <a:gd name="T13" fmla="*/ 31 h 31"/>
                  <a:gd name="T14" fmla="*/ 23 w 31"/>
                  <a:gd name="T15" fmla="*/ 31 h 31"/>
                  <a:gd name="T16" fmla="*/ 18 w 31"/>
                  <a:gd name="T17" fmla="*/ 31 h 31"/>
                  <a:gd name="T18" fmla="*/ 13 w 31"/>
                  <a:gd name="T19" fmla="*/ 19 h 31"/>
                  <a:gd name="T20" fmla="*/ 2 w 31"/>
                  <a:gd name="T21" fmla="*/ 12 h 31"/>
                  <a:gd name="T22" fmla="*/ 2 w 31"/>
                  <a:gd name="T23" fmla="*/ 8 h 31"/>
                  <a:gd name="T24" fmla="*/ 17 w 31"/>
                  <a:gd name="T25" fmla="*/ 16 h 31"/>
                  <a:gd name="T26" fmla="*/ 23 w 31"/>
                  <a:gd name="T27" fmla="*/ 31 h 31"/>
                  <a:gd name="T28" fmla="*/ 31 w 31"/>
                  <a:gd name="T29" fmla="*/ 30 h 31"/>
                  <a:gd name="T30" fmla="*/ 27 w 31"/>
                  <a:gd name="T31" fmla="*/ 31 h 31"/>
                  <a:gd name="T32" fmla="*/ 20 w 31"/>
                  <a:gd name="T33" fmla="*/ 13 h 31"/>
                  <a:gd name="T34" fmla="*/ 3 w 31"/>
                  <a:gd name="T35" fmla="*/ 4 h 31"/>
                  <a:gd name="T36" fmla="*/ 4 w 31"/>
                  <a:gd name="T37" fmla="*/ 0 h 31"/>
                  <a:gd name="T38" fmla="*/ 23 w 31"/>
                  <a:gd name="T39" fmla="*/ 10 h 31"/>
                  <a:gd name="T40" fmla="*/ 31 w 31"/>
                  <a:gd name="T41" fmla="*/ 30 h 31"/>
                  <a:gd name="T42" fmla="*/ 4 w 31"/>
                  <a:gd name="T43" fmla="*/ 27 h 31"/>
                  <a:gd name="T44" fmla="*/ 1 w 31"/>
                  <a:gd name="T45" fmla="*/ 27 h 31"/>
                  <a:gd name="T46" fmla="*/ 1 w 31"/>
                  <a:gd name="T47" fmla="*/ 30 h 31"/>
                  <a:gd name="T48" fmla="*/ 4 w 31"/>
                  <a:gd name="T49" fmla="*/ 30 h 31"/>
                  <a:gd name="T50" fmla="*/ 4 w 31"/>
                  <a:gd name="T51" fmla="*/ 2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" h="31">
                    <a:moveTo>
                      <a:pt x="14" y="31"/>
                    </a:moveTo>
                    <a:cubicBezTo>
                      <a:pt x="10" y="31"/>
                      <a:pt x="10" y="31"/>
                      <a:pt x="10" y="31"/>
                    </a:cubicBezTo>
                    <a:cubicBezTo>
                      <a:pt x="10" y="29"/>
                      <a:pt x="9" y="26"/>
                      <a:pt x="7" y="24"/>
                    </a:cubicBezTo>
                    <a:cubicBezTo>
                      <a:pt x="5" y="22"/>
                      <a:pt x="3" y="21"/>
                      <a:pt x="1" y="21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5" y="17"/>
                      <a:pt x="8" y="19"/>
                      <a:pt x="10" y="21"/>
                    </a:cubicBezTo>
                    <a:cubicBezTo>
                      <a:pt x="13" y="24"/>
                      <a:pt x="14" y="28"/>
                      <a:pt x="14" y="31"/>
                    </a:cubicBezTo>
                    <a:close/>
                    <a:moveTo>
                      <a:pt x="23" y="31"/>
                    </a:move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26"/>
                      <a:pt x="17" y="22"/>
                      <a:pt x="13" y="19"/>
                    </a:cubicBezTo>
                    <a:cubicBezTo>
                      <a:pt x="10" y="15"/>
                      <a:pt x="6" y="13"/>
                      <a:pt x="2" y="12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8" y="9"/>
                      <a:pt x="13" y="11"/>
                      <a:pt x="17" y="16"/>
                    </a:cubicBezTo>
                    <a:cubicBezTo>
                      <a:pt x="20" y="20"/>
                      <a:pt x="22" y="25"/>
                      <a:pt x="23" y="31"/>
                    </a:cubicBezTo>
                    <a:close/>
                    <a:moveTo>
                      <a:pt x="31" y="30"/>
                    </a:moveTo>
                    <a:cubicBezTo>
                      <a:pt x="27" y="31"/>
                      <a:pt x="27" y="31"/>
                      <a:pt x="27" y="31"/>
                    </a:cubicBezTo>
                    <a:cubicBezTo>
                      <a:pt x="27" y="24"/>
                      <a:pt x="24" y="18"/>
                      <a:pt x="20" y="13"/>
                    </a:cubicBezTo>
                    <a:cubicBezTo>
                      <a:pt x="15" y="8"/>
                      <a:pt x="9" y="5"/>
                      <a:pt x="3" y="4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1" y="1"/>
                      <a:pt x="18" y="4"/>
                      <a:pt x="23" y="10"/>
                    </a:cubicBezTo>
                    <a:cubicBezTo>
                      <a:pt x="28" y="16"/>
                      <a:pt x="31" y="23"/>
                      <a:pt x="31" y="30"/>
                    </a:cubicBezTo>
                    <a:close/>
                    <a:moveTo>
                      <a:pt x="4" y="27"/>
                    </a:moveTo>
                    <a:cubicBezTo>
                      <a:pt x="4" y="26"/>
                      <a:pt x="2" y="26"/>
                      <a:pt x="1" y="27"/>
                    </a:cubicBezTo>
                    <a:cubicBezTo>
                      <a:pt x="0" y="27"/>
                      <a:pt x="0" y="29"/>
                      <a:pt x="1" y="30"/>
                    </a:cubicBezTo>
                    <a:cubicBezTo>
                      <a:pt x="2" y="31"/>
                      <a:pt x="3" y="31"/>
                      <a:pt x="4" y="30"/>
                    </a:cubicBezTo>
                    <a:cubicBezTo>
                      <a:pt x="5" y="29"/>
                      <a:pt x="5" y="28"/>
                      <a:pt x="4" y="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264" name="Gruppieren 263"/>
          <p:cNvGrpSpPr/>
          <p:nvPr/>
        </p:nvGrpSpPr>
        <p:grpSpPr>
          <a:xfrm>
            <a:off x="1346967" y="3052293"/>
            <a:ext cx="2160000" cy="1888917"/>
            <a:chOff x="1346967" y="2828371"/>
            <a:chExt cx="2160000" cy="1888917"/>
          </a:xfrm>
        </p:grpSpPr>
        <p:grpSp>
          <p:nvGrpSpPr>
            <p:cNvPr id="147" name="Gruppieren 146"/>
            <p:cNvGrpSpPr/>
            <p:nvPr/>
          </p:nvGrpSpPr>
          <p:grpSpPr>
            <a:xfrm flipH="1">
              <a:off x="2642791" y="4353288"/>
              <a:ext cx="246000" cy="364000"/>
              <a:chOff x="2903473" y="4497304"/>
              <a:chExt cx="246000" cy="364000"/>
            </a:xfrm>
          </p:grpSpPr>
          <p:sp>
            <p:nvSpPr>
              <p:cNvPr id="144" name="Oval 73"/>
              <p:cNvSpPr>
                <a:spLocks noChangeArrowheads="1"/>
              </p:cNvSpPr>
              <p:nvPr/>
            </p:nvSpPr>
            <p:spPr bwMode="auto">
              <a:xfrm>
                <a:off x="3076140" y="4787971"/>
                <a:ext cx="73333" cy="7333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5" name="Oval 74"/>
              <p:cNvSpPr>
                <a:spLocks noChangeArrowheads="1"/>
              </p:cNvSpPr>
              <p:nvPr/>
            </p:nvSpPr>
            <p:spPr bwMode="auto">
              <a:xfrm>
                <a:off x="2995473" y="4666637"/>
                <a:ext cx="99334" cy="953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6" name="Oval 75"/>
              <p:cNvSpPr>
                <a:spLocks noChangeArrowheads="1"/>
              </p:cNvSpPr>
              <p:nvPr/>
            </p:nvSpPr>
            <p:spPr bwMode="auto">
              <a:xfrm>
                <a:off x="2903473" y="4497304"/>
                <a:ext cx="147334" cy="1473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44" name="Gruppieren 243"/>
            <p:cNvGrpSpPr>
              <a:grpSpLocks noChangeAspect="1"/>
            </p:cNvGrpSpPr>
            <p:nvPr/>
          </p:nvGrpSpPr>
          <p:grpSpPr>
            <a:xfrm>
              <a:off x="1346967" y="2828371"/>
              <a:ext cx="2160000" cy="1608741"/>
              <a:chOff x="1181955" y="2913804"/>
              <a:chExt cx="1726667" cy="1286000"/>
            </a:xfrm>
          </p:grpSpPr>
          <p:sp>
            <p:nvSpPr>
              <p:cNvPr id="245" name="Freeform 8"/>
              <p:cNvSpPr>
                <a:spLocks/>
              </p:cNvSpPr>
              <p:nvPr/>
            </p:nvSpPr>
            <p:spPr bwMode="auto">
              <a:xfrm>
                <a:off x="1181955" y="2913804"/>
                <a:ext cx="1726667" cy="1286000"/>
              </a:xfrm>
              <a:custGeom>
                <a:avLst/>
                <a:gdLst>
                  <a:gd name="T0" fmla="*/ 2590 w 2590"/>
                  <a:gd name="T1" fmla="*/ 0 h 1929"/>
                  <a:gd name="T2" fmla="*/ 2590 w 2590"/>
                  <a:gd name="T3" fmla="*/ 1929 h 1929"/>
                  <a:gd name="T4" fmla="*/ 0 w 2590"/>
                  <a:gd name="T5" fmla="*/ 1929 h 1929"/>
                  <a:gd name="T6" fmla="*/ 0 w 2590"/>
                  <a:gd name="T7" fmla="*/ 0 h 1929"/>
                  <a:gd name="T8" fmla="*/ 2590 w 2590"/>
                  <a:gd name="T9" fmla="*/ 0 h 1929"/>
                  <a:gd name="T10" fmla="*/ 2590 w 2590"/>
                  <a:gd name="T11" fmla="*/ 0 h 19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90" h="1929">
                    <a:moveTo>
                      <a:pt x="2590" y="0"/>
                    </a:moveTo>
                    <a:lnTo>
                      <a:pt x="2590" y="1929"/>
                    </a:lnTo>
                    <a:lnTo>
                      <a:pt x="0" y="1929"/>
                    </a:lnTo>
                    <a:lnTo>
                      <a:pt x="0" y="0"/>
                    </a:lnTo>
                    <a:lnTo>
                      <a:pt x="2590" y="0"/>
                    </a:lnTo>
                    <a:lnTo>
                      <a:pt x="259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10"/>
              <p:cNvSpPr>
                <a:spLocks/>
              </p:cNvSpPr>
              <p:nvPr/>
            </p:nvSpPr>
            <p:spPr bwMode="auto">
              <a:xfrm>
                <a:off x="1677955" y="3387804"/>
                <a:ext cx="966000" cy="503334"/>
              </a:xfrm>
              <a:custGeom>
                <a:avLst/>
                <a:gdLst>
                  <a:gd name="T0" fmla="*/ 60 w 263"/>
                  <a:gd name="T1" fmla="*/ 0 h 137"/>
                  <a:gd name="T2" fmla="*/ 60 w 263"/>
                  <a:gd name="T3" fmla="*/ 0 h 137"/>
                  <a:gd name="T4" fmla="*/ 0 w 263"/>
                  <a:gd name="T5" fmla="*/ 67 h 137"/>
                  <a:gd name="T6" fmla="*/ 0 w 263"/>
                  <a:gd name="T7" fmla="*/ 70 h 137"/>
                  <a:gd name="T8" fmla="*/ 62 w 263"/>
                  <a:gd name="T9" fmla="*/ 137 h 137"/>
                  <a:gd name="T10" fmla="*/ 263 w 263"/>
                  <a:gd name="T11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3" h="137">
                    <a:moveTo>
                      <a:pt x="60" y="0"/>
                    </a:moveTo>
                    <a:cubicBezTo>
                      <a:pt x="60" y="0"/>
                      <a:pt x="60" y="0"/>
                      <a:pt x="60" y="0"/>
                    </a:cubicBezTo>
                    <a:cubicBezTo>
                      <a:pt x="27" y="0"/>
                      <a:pt x="0" y="30"/>
                      <a:pt x="0" y="67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108"/>
                      <a:pt x="28" y="137"/>
                      <a:pt x="62" y="137"/>
                    </a:cubicBezTo>
                    <a:cubicBezTo>
                      <a:pt x="263" y="137"/>
                      <a:pt x="263" y="137"/>
                      <a:pt x="263" y="137"/>
                    </a:cubicBezTo>
                  </a:path>
                </a:pathLst>
              </a:custGeom>
              <a:noFill/>
              <a:ln w="44" cap="flat">
                <a:solidFill>
                  <a:srgbClr val="8CC3D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Line 11"/>
              <p:cNvSpPr>
                <a:spLocks noChangeShapeType="1"/>
              </p:cNvSpPr>
              <p:nvPr/>
            </p:nvSpPr>
            <p:spPr bwMode="auto">
              <a:xfrm>
                <a:off x="1391288" y="3641138"/>
                <a:ext cx="286667" cy="0"/>
              </a:xfrm>
              <a:prstGeom prst="line">
                <a:avLst/>
              </a:prstGeom>
              <a:noFill/>
              <a:ln w="44" cap="flat">
                <a:solidFill>
                  <a:srgbClr val="8CC3D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Line 12"/>
              <p:cNvSpPr>
                <a:spLocks noChangeShapeType="1"/>
              </p:cNvSpPr>
              <p:nvPr/>
            </p:nvSpPr>
            <p:spPr bwMode="auto">
              <a:xfrm>
                <a:off x="1898622" y="3387804"/>
                <a:ext cx="745333" cy="0"/>
              </a:xfrm>
              <a:prstGeom prst="line">
                <a:avLst/>
              </a:prstGeom>
              <a:noFill/>
              <a:ln w="44" cap="flat">
                <a:solidFill>
                  <a:srgbClr val="8CC3D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9" name="Freeform 13"/>
              <p:cNvSpPr>
                <a:spLocks/>
              </p:cNvSpPr>
              <p:nvPr/>
            </p:nvSpPr>
            <p:spPr bwMode="auto">
              <a:xfrm>
                <a:off x="2162622" y="3178471"/>
                <a:ext cx="481333" cy="418667"/>
              </a:xfrm>
              <a:custGeom>
                <a:avLst/>
                <a:gdLst>
                  <a:gd name="T0" fmla="*/ 131 w 131"/>
                  <a:gd name="T1" fmla="*/ 0 h 114"/>
                  <a:gd name="T2" fmla="*/ 57 w 131"/>
                  <a:gd name="T3" fmla="*/ 0 h 114"/>
                  <a:gd name="T4" fmla="*/ 0 w 131"/>
                  <a:gd name="T5" fmla="*/ 57 h 114"/>
                  <a:gd name="T6" fmla="*/ 0 w 131"/>
                  <a:gd name="T7" fmla="*/ 57 h 114"/>
                  <a:gd name="T8" fmla="*/ 57 w 131"/>
                  <a:gd name="T9" fmla="*/ 114 h 114"/>
                  <a:gd name="T10" fmla="*/ 131 w 131"/>
                  <a:gd name="T11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1" h="114">
                    <a:moveTo>
                      <a:pt x="131" y="0"/>
                    </a:moveTo>
                    <a:cubicBezTo>
                      <a:pt x="57" y="0"/>
                      <a:pt x="57" y="0"/>
                      <a:pt x="57" y="0"/>
                    </a:cubicBezTo>
                    <a:cubicBezTo>
                      <a:pt x="25" y="0"/>
                      <a:pt x="0" y="25"/>
                      <a:pt x="0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89"/>
                      <a:pt x="25" y="114"/>
                      <a:pt x="57" y="114"/>
                    </a:cubicBezTo>
                    <a:cubicBezTo>
                      <a:pt x="131" y="114"/>
                      <a:pt x="131" y="114"/>
                      <a:pt x="131" y="114"/>
                    </a:cubicBezTo>
                  </a:path>
                </a:pathLst>
              </a:custGeom>
              <a:noFill/>
              <a:ln w="44" cap="flat">
                <a:solidFill>
                  <a:srgbClr val="8CC3D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0" name="Freeform 14"/>
              <p:cNvSpPr>
                <a:spLocks/>
              </p:cNvSpPr>
              <p:nvPr/>
            </p:nvSpPr>
            <p:spPr bwMode="auto">
              <a:xfrm>
                <a:off x="1663288" y="3373138"/>
                <a:ext cx="980667" cy="532667"/>
              </a:xfrm>
              <a:custGeom>
                <a:avLst/>
                <a:gdLst>
                  <a:gd name="T0" fmla="*/ 267 w 267"/>
                  <a:gd name="T1" fmla="*/ 145 h 145"/>
                  <a:gd name="T2" fmla="*/ 66 w 267"/>
                  <a:gd name="T3" fmla="*/ 145 h 145"/>
                  <a:gd name="T4" fmla="*/ 0 w 267"/>
                  <a:gd name="T5" fmla="*/ 74 h 145"/>
                  <a:gd name="T6" fmla="*/ 0 w 267"/>
                  <a:gd name="T7" fmla="*/ 71 h 145"/>
                  <a:gd name="T8" fmla="*/ 64 w 267"/>
                  <a:gd name="T9" fmla="*/ 0 h 145"/>
                  <a:gd name="T10" fmla="*/ 64 w 267"/>
                  <a:gd name="T11" fmla="*/ 8 h 145"/>
                  <a:gd name="T12" fmla="*/ 8 w 267"/>
                  <a:gd name="T13" fmla="*/ 71 h 145"/>
                  <a:gd name="T14" fmla="*/ 8 w 267"/>
                  <a:gd name="T15" fmla="*/ 74 h 145"/>
                  <a:gd name="T16" fmla="*/ 66 w 267"/>
                  <a:gd name="T17" fmla="*/ 137 h 145"/>
                  <a:gd name="T18" fmla="*/ 267 w 267"/>
                  <a:gd name="T19" fmla="*/ 137 h 145"/>
                  <a:gd name="T20" fmla="*/ 267 w 267"/>
                  <a:gd name="T21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7" h="145">
                    <a:moveTo>
                      <a:pt x="267" y="145"/>
                    </a:moveTo>
                    <a:cubicBezTo>
                      <a:pt x="66" y="145"/>
                      <a:pt x="66" y="145"/>
                      <a:pt x="66" y="145"/>
                    </a:cubicBezTo>
                    <a:cubicBezTo>
                      <a:pt x="30" y="145"/>
                      <a:pt x="0" y="113"/>
                      <a:pt x="0" y="74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32"/>
                      <a:pt x="29" y="0"/>
                      <a:pt x="64" y="0"/>
                    </a:cubicBezTo>
                    <a:cubicBezTo>
                      <a:pt x="64" y="8"/>
                      <a:pt x="64" y="8"/>
                      <a:pt x="64" y="8"/>
                    </a:cubicBezTo>
                    <a:cubicBezTo>
                      <a:pt x="33" y="8"/>
                      <a:pt x="8" y="36"/>
                      <a:pt x="8" y="71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8" y="109"/>
                      <a:pt x="34" y="137"/>
                      <a:pt x="66" y="137"/>
                    </a:cubicBezTo>
                    <a:cubicBezTo>
                      <a:pt x="267" y="137"/>
                      <a:pt x="267" y="137"/>
                      <a:pt x="267" y="137"/>
                    </a:cubicBezTo>
                    <a:lnTo>
                      <a:pt x="267" y="145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1" name="Rectangle 15"/>
              <p:cNvSpPr>
                <a:spLocks noChangeArrowheads="1"/>
              </p:cNvSpPr>
              <p:nvPr/>
            </p:nvSpPr>
            <p:spPr bwMode="auto">
              <a:xfrm>
                <a:off x="1391288" y="3626471"/>
                <a:ext cx="286667" cy="29333"/>
              </a:xfrm>
              <a:prstGeom prst="rect">
                <a:avLst/>
              </a:pr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2" name="Rectangle 16"/>
              <p:cNvSpPr>
                <a:spLocks noChangeArrowheads="1"/>
              </p:cNvSpPr>
              <p:nvPr/>
            </p:nvSpPr>
            <p:spPr bwMode="auto">
              <a:xfrm>
                <a:off x="1898622" y="3373138"/>
                <a:ext cx="745333" cy="29333"/>
              </a:xfrm>
              <a:prstGeom prst="rect">
                <a:avLst/>
              </a:pr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3" name="Freeform 17"/>
              <p:cNvSpPr>
                <a:spLocks/>
              </p:cNvSpPr>
              <p:nvPr/>
            </p:nvSpPr>
            <p:spPr bwMode="auto">
              <a:xfrm>
                <a:off x="2147955" y="3163804"/>
                <a:ext cx="496000" cy="448000"/>
              </a:xfrm>
              <a:custGeom>
                <a:avLst/>
                <a:gdLst>
                  <a:gd name="T0" fmla="*/ 135 w 135"/>
                  <a:gd name="T1" fmla="*/ 122 h 122"/>
                  <a:gd name="T2" fmla="*/ 61 w 135"/>
                  <a:gd name="T3" fmla="*/ 122 h 122"/>
                  <a:gd name="T4" fmla="*/ 0 w 135"/>
                  <a:gd name="T5" fmla="*/ 61 h 122"/>
                  <a:gd name="T6" fmla="*/ 61 w 135"/>
                  <a:gd name="T7" fmla="*/ 0 h 122"/>
                  <a:gd name="T8" fmla="*/ 135 w 135"/>
                  <a:gd name="T9" fmla="*/ 0 h 122"/>
                  <a:gd name="T10" fmla="*/ 135 w 135"/>
                  <a:gd name="T11" fmla="*/ 8 h 122"/>
                  <a:gd name="T12" fmla="*/ 61 w 135"/>
                  <a:gd name="T13" fmla="*/ 8 h 122"/>
                  <a:gd name="T14" fmla="*/ 8 w 135"/>
                  <a:gd name="T15" fmla="*/ 61 h 122"/>
                  <a:gd name="T16" fmla="*/ 61 w 135"/>
                  <a:gd name="T17" fmla="*/ 114 h 122"/>
                  <a:gd name="T18" fmla="*/ 135 w 135"/>
                  <a:gd name="T19" fmla="*/ 114 h 122"/>
                  <a:gd name="T20" fmla="*/ 135 w 135"/>
                  <a:gd name="T21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5" h="122">
                    <a:moveTo>
                      <a:pt x="135" y="122"/>
                    </a:moveTo>
                    <a:cubicBezTo>
                      <a:pt x="61" y="122"/>
                      <a:pt x="61" y="122"/>
                      <a:pt x="61" y="122"/>
                    </a:cubicBezTo>
                    <a:cubicBezTo>
                      <a:pt x="27" y="122"/>
                      <a:pt x="0" y="95"/>
                      <a:pt x="0" y="61"/>
                    </a:cubicBezTo>
                    <a:cubicBezTo>
                      <a:pt x="0" y="27"/>
                      <a:pt x="27" y="0"/>
                      <a:pt x="61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5" y="8"/>
                      <a:pt x="135" y="8"/>
                      <a:pt x="135" y="8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32" y="8"/>
                      <a:pt x="8" y="32"/>
                      <a:pt x="8" y="61"/>
                    </a:cubicBezTo>
                    <a:cubicBezTo>
                      <a:pt x="8" y="90"/>
                      <a:pt x="32" y="114"/>
                      <a:pt x="61" y="114"/>
                    </a:cubicBezTo>
                    <a:cubicBezTo>
                      <a:pt x="135" y="114"/>
                      <a:pt x="135" y="114"/>
                      <a:pt x="135" y="114"/>
                    </a:cubicBezTo>
                    <a:lnTo>
                      <a:pt x="135" y="122"/>
                    </a:lnTo>
                    <a:close/>
                  </a:path>
                </a:pathLst>
              </a:custGeom>
              <a:solidFill>
                <a:srgbClr val="8CC3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4" name="Oval 18"/>
              <p:cNvSpPr>
                <a:spLocks noChangeArrowheads="1"/>
              </p:cNvSpPr>
              <p:nvPr/>
            </p:nvSpPr>
            <p:spPr bwMode="auto">
              <a:xfrm>
                <a:off x="1325289" y="3571137"/>
                <a:ext cx="132000" cy="136000"/>
              </a:xfrm>
              <a:prstGeom prst="ellipse">
                <a:avLst/>
              </a:prstGeom>
              <a:solidFill>
                <a:srgbClr val="147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5" name="Oval 19"/>
              <p:cNvSpPr>
                <a:spLocks noChangeArrowheads="1"/>
              </p:cNvSpPr>
              <p:nvPr/>
            </p:nvSpPr>
            <p:spPr bwMode="auto">
              <a:xfrm>
                <a:off x="1828622" y="3825138"/>
                <a:ext cx="136000" cy="135334"/>
              </a:xfrm>
              <a:prstGeom prst="ellipse">
                <a:avLst/>
              </a:prstGeom>
              <a:solidFill>
                <a:srgbClr val="147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6" name="Oval 20"/>
              <p:cNvSpPr>
                <a:spLocks noChangeArrowheads="1"/>
              </p:cNvSpPr>
              <p:nvPr/>
            </p:nvSpPr>
            <p:spPr bwMode="auto">
              <a:xfrm>
                <a:off x="1828622" y="3321804"/>
                <a:ext cx="136000" cy="132000"/>
              </a:xfrm>
              <a:prstGeom prst="ellipse">
                <a:avLst/>
              </a:prstGeom>
              <a:solidFill>
                <a:srgbClr val="147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7" name="Oval 21"/>
              <p:cNvSpPr>
                <a:spLocks noChangeArrowheads="1"/>
              </p:cNvSpPr>
              <p:nvPr/>
            </p:nvSpPr>
            <p:spPr bwMode="auto">
              <a:xfrm>
                <a:off x="2577955" y="3321804"/>
                <a:ext cx="136000" cy="132000"/>
              </a:xfrm>
              <a:prstGeom prst="ellipse">
                <a:avLst/>
              </a:prstGeom>
              <a:solidFill>
                <a:srgbClr val="147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8" name="Oval 22"/>
              <p:cNvSpPr>
                <a:spLocks noChangeArrowheads="1"/>
              </p:cNvSpPr>
              <p:nvPr/>
            </p:nvSpPr>
            <p:spPr bwMode="auto">
              <a:xfrm>
                <a:off x="2577955" y="3531137"/>
                <a:ext cx="136000" cy="136000"/>
              </a:xfrm>
              <a:prstGeom prst="ellipse">
                <a:avLst/>
              </a:prstGeom>
              <a:solidFill>
                <a:srgbClr val="147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9" name="Oval 23"/>
              <p:cNvSpPr>
                <a:spLocks noChangeArrowheads="1"/>
              </p:cNvSpPr>
              <p:nvPr/>
            </p:nvSpPr>
            <p:spPr bwMode="auto">
              <a:xfrm>
                <a:off x="2577955" y="3825138"/>
                <a:ext cx="136000" cy="135334"/>
              </a:xfrm>
              <a:prstGeom prst="ellipse">
                <a:avLst/>
              </a:prstGeom>
              <a:solidFill>
                <a:srgbClr val="147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0" name="Oval 24"/>
              <p:cNvSpPr>
                <a:spLocks noChangeArrowheads="1"/>
              </p:cNvSpPr>
              <p:nvPr/>
            </p:nvSpPr>
            <p:spPr bwMode="auto">
              <a:xfrm>
                <a:off x="2577955" y="3108471"/>
                <a:ext cx="136000" cy="136000"/>
              </a:xfrm>
              <a:prstGeom prst="ellipse">
                <a:avLst/>
              </a:prstGeom>
              <a:solidFill>
                <a:srgbClr val="14739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265" name="Freeform 28"/>
          <p:cNvSpPr>
            <a:spLocks/>
          </p:cNvSpPr>
          <p:nvPr/>
        </p:nvSpPr>
        <p:spPr bwMode="auto">
          <a:xfrm>
            <a:off x="5407825" y="4139034"/>
            <a:ext cx="547334" cy="235334"/>
          </a:xfrm>
          <a:custGeom>
            <a:avLst/>
            <a:gdLst>
              <a:gd name="T0" fmla="*/ 0 w 821"/>
              <a:gd name="T1" fmla="*/ 237 h 353"/>
              <a:gd name="T2" fmla="*/ 512 w 821"/>
              <a:gd name="T3" fmla="*/ 237 h 353"/>
              <a:gd name="T4" fmla="*/ 512 w 821"/>
              <a:gd name="T5" fmla="*/ 353 h 353"/>
              <a:gd name="T6" fmla="*/ 821 w 821"/>
              <a:gd name="T7" fmla="*/ 176 h 353"/>
              <a:gd name="T8" fmla="*/ 512 w 821"/>
              <a:gd name="T9" fmla="*/ 0 h 353"/>
              <a:gd name="T10" fmla="*/ 512 w 821"/>
              <a:gd name="T11" fmla="*/ 121 h 353"/>
              <a:gd name="T12" fmla="*/ 0 w 821"/>
              <a:gd name="T13" fmla="*/ 121 h 353"/>
              <a:gd name="T14" fmla="*/ 0 w 821"/>
              <a:gd name="T15" fmla="*/ 23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21" h="353">
                <a:moveTo>
                  <a:pt x="0" y="237"/>
                </a:moveTo>
                <a:lnTo>
                  <a:pt x="512" y="237"/>
                </a:lnTo>
                <a:lnTo>
                  <a:pt x="512" y="353"/>
                </a:lnTo>
                <a:lnTo>
                  <a:pt x="821" y="176"/>
                </a:lnTo>
                <a:lnTo>
                  <a:pt x="512" y="0"/>
                </a:lnTo>
                <a:lnTo>
                  <a:pt x="512" y="121"/>
                </a:lnTo>
                <a:lnTo>
                  <a:pt x="0" y="121"/>
                </a:lnTo>
                <a:lnTo>
                  <a:pt x="0" y="237"/>
                </a:lnTo>
                <a:close/>
              </a:path>
            </a:pathLst>
          </a:custGeom>
          <a:solidFill>
            <a:srgbClr val="505A6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62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3"/>
  <p:tag name="CDT_FONTSET" val="Aria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496"/>
  <p:tag name="CDT_PROT_WIDTH" val="933,8749"/>
  <p:tag name="CDT_PROT_HEIGHT" val="30,9513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DELETE_ONEVENT_NEWPRES" val="False"/>
  <p:tag name="CDT_PROT" val="2"/>
  <p:tag name="CDT_PROT_TOP" val="406,08"/>
  <p:tag name="CDT_PROT_LEFT" val="26,62496"/>
  <p:tag name="CDT_PROT_WIDTH" val="933,8749"/>
  <p:tag name="CDT_PROT_HEIGHT" val="30,9513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DUMMYPICTURE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540"/>
  <p:tag name="CDT_DELETE_ONEVENT_NEWPRES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FILLUNVISIBLE" val="False"/>
  <p:tag name="CDT_COLBF_NEW" val="19"/>
  <p:tag name="CDT_COLFF_NEW" val="19"/>
  <p:tag name="CDT_EXTCOL" val="True"/>
  <p:tag name="CDT_COLTX_NEW" val="20"/>
  <p:tag name="CDT_TARGETSHAPE_NEW" val="3"/>
  <p:tag name="CDT_PROT" val="5"/>
  <p:tag name="CDT_PROT_TOP" val="190,6199"/>
  <p:tag name="CDT_PROT_LEFT" val="26,62496"/>
  <p:tag name="CDT_PROT_WIDTH" val="933,8749"/>
  <p:tag name="CDT_PROT_HEIGHT" val="99,70441"/>
  <p:tag name="CDT_DELETE_ONEVENT_NEWPRES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EXTCOL" val="True"/>
  <p:tag name="CDT_COLTX_NEW" val="20"/>
  <p:tag name="CDT_DELETE_ONEVENT_NEWPRES" val="False"/>
  <p:tag name="CDT_PROT" val="2"/>
  <p:tag name="CDT_PROT_TOP" val="190,62"/>
  <p:tag name="CDT_PROT_LEFT" val="26,62504"/>
  <p:tag name="CDT_PROT_WIDTH" val="933,8749"/>
  <p:tag name="CDT_PROT_HEIGHT" val="30,9513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54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DUMMYPICTURE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540"/>
  <p:tag name="CDT_DELETE_ONEVENT_NEWPRES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3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EXTCOL" val="True"/>
  <p:tag name="CDT_COLTX_NEW" val="20"/>
  <p:tag name="CDT_DELETE_ONEVENT_NEWPRES" val="False"/>
  <p:tag name="CDT_PROT" val="2"/>
  <p:tag name="CDT_PROT_TOP" val="304"/>
  <p:tag name="CDT_PROT_LEFT" val="26,62504"/>
  <p:tag name="CDT_PROT_WIDTH" val="933,8749"/>
  <p:tag name="CDT_PROT_HEIGHT" val="30,9513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4"/>
  <p:tag name="CDT_PROT" val="3"/>
  <p:tag name="CDT_PROT_TOP" val="485,5"/>
  <p:tag name="CDT_PROT_LEFT" val="695,75"/>
  <p:tag name="CDT_PROT_WIDTH" val="264,75"/>
  <p:tag name="CDT_PROT_HEIGHT" val="3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DELETE_ONEVENT_NEWPRES" val="Fals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504"/>
  <p:tag name="CDT_PROT_WIDTH" val="933,8749"/>
  <p:tag name="CDT_PROT_HEIGHT" val="30,9513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249"/>
  <p:tag name="CDT_PROT_WIDTH" val="113,375"/>
  <p:tag name="CDT_PROT_HEIGHT" val="63,3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PROT" val="4"/>
  <p:tag name="CDT_PROT_TOP" val="337,575"/>
  <p:tag name="CDT_PROT_LEFT" val="26,62504"/>
  <p:tag name="CDT_PROT_WIDTH" val="933,8749"/>
  <p:tag name="CDT_PROT_HEIGHT" val="68,50504"/>
  <p:tag name="CDT_DELETE_ONEVENT_NEWPRES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DELETE_ONEVENT_NEWPRES" val="False"/>
  <p:tag name="CDT_PROT" val="2"/>
  <p:tag name="CDT_PROT_TOP" val="406,08"/>
  <p:tag name="CDT_PROT_LEFT" val="26,62504"/>
  <p:tag name="CDT_PROT_WIDTH" val="933,8749"/>
  <p:tag name="CDT_PROT_HEIGHT" val="30,9513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249"/>
  <p:tag name="CDT_PROT_WIDTH" val="113,375"/>
  <p:tag name="CDT_PROT_HEIGHT" val="63,3750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2"/>
  <p:tag name="CDT_TARGETSHAPE_NEW" val="13"/>
  <p:tag name="CDT_DELETE_ONEVENT_NEWPRES" val="False"/>
  <p:tag name="CDT_PROT" val="2"/>
  <p:tag name="CDT_PROT_TOP" val="111,25"/>
  <p:tag name="CDT_PROT_LEFT" val="0"/>
  <p:tag name="CDT_PROT_WIDTH" val="355,51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ELETE_ONEVENT_NEWPRES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heme/theme1.xml><?xml version="1.0" encoding="utf-8"?>
<a:theme xmlns:a="http://schemas.openxmlformats.org/drawingml/2006/main" name="Siemens 2013 – 16:9">
  <a:themeElements>
    <a:clrScheme name="Siemens AG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Natural Yellow (dark)">
      <a:srgbClr val="EB780A"/>
    </a:custClr>
    <a:custClr name="Siemens Yellow (light)">
      <a:srgbClr val="FFB900"/>
    </a:custClr>
    <a:custClr name="Siemens Stone (1)">
      <a:srgbClr val="506473"/>
    </a:custClr>
    <a:custClr name="Siemens Sand (1)">
      <a:srgbClr val="827F64"/>
    </a:custClr>
    <a:custClr name="Siemens Natural Gray (1)">
      <a:srgbClr val="0F1923"/>
    </a:custClr>
    <a:custClr name="Siemens Natural Yellow (1)">
      <a:srgbClr val="7D2D1E"/>
    </a:custClr>
    <a:custClr name="Siemens Natural Red (1)">
      <a:srgbClr val="411432"/>
    </a:custClr>
    <a:custClr name="Siemens Natural Blue (1)">
      <a:srgbClr val="004664"/>
    </a:custClr>
    <a:custClr name="Siemens Natural Green (1)">
      <a:srgbClr val="465F19"/>
    </a:custClr>
    <a:custClr name="True Black">
      <a:srgbClr val="000000"/>
    </a:custClr>
    <a:custClr name="Siemens Natural Red (dark)">
      <a:srgbClr val="641946"/>
    </a:custClr>
    <a:custClr name="Siemens Red Light">
      <a:srgbClr val="AF235F"/>
    </a:custClr>
    <a:custClr name="Siemens Stone (2)">
      <a:srgbClr val="879BAA"/>
    </a:custClr>
    <a:custClr name="Siemens Sand (2)">
      <a:srgbClr val="AAAA96"/>
    </a:custClr>
    <a:custClr name="Siemens Natural Gray (2)">
      <a:srgbClr val="323C46"/>
    </a:custClr>
    <a:custClr name="Siemens Natural Yellow (2)">
      <a:srgbClr val="C85A1E"/>
    </a:custClr>
    <a:custClr name="Siemens Natural Red (2)">
      <a:srgbClr val="641946"/>
    </a:custClr>
    <a:custClr name="Siemens Natural Blue (2)">
      <a:srgbClr val="006487"/>
    </a:custClr>
    <a:custClr name="Siemens Natural Green (2)">
      <a:srgbClr val="647D2D"/>
    </a:custClr>
    <a:custClr name="Siemens Stone (100%)">
      <a:srgbClr val="879BAA"/>
    </a:custClr>
    <a:custClr name="Siemens Natural Blue (dark)">
      <a:srgbClr val="006487"/>
    </a:custClr>
    <a:custClr name="Siemens Natural Blue (light)">
      <a:srgbClr val="55A0B9"/>
    </a:custClr>
    <a:custClr name="Siemens Stone (3)">
      <a:srgbClr val="9BAFBE"/>
    </a:custClr>
    <a:custClr name="Siemens Sand (3)">
      <a:srgbClr val="C8C8B9"/>
    </a:custClr>
    <a:custClr name="Siemens Natural Gray (3)">
      <a:srgbClr val="505A64"/>
    </a:custClr>
    <a:custClr name="Siemens Natural Yellow (3)">
      <a:srgbClr val="EB780A"/>
    </a:custClr>
    <a:custClr name="Siemens Natural Red (3)">
      <a:srgbClr val="871E50"/>
    </a:custClr>
    <a:custClr name="Siemens Natural Blue (3)">
      <a:srgbClr val="2882A0"/>
    </a:custClr>
    <a:custClr name="Siemens Natural Green (3)">
      <a:srgbClr val="879628"/>
    </a:custClr>
    <a:custClr name="Siemens Stone (30%)">
      <a:srgbClr val="BECDD7"/>
    </a:custClr>
    <a:custClr name="Siemens Natural Green">
      <a:srgbClr val="647D2D"/>
    </a:custClr>
    <a:custClr name="Siemens Natural Green (light)">
      <a:srgbClr val="AAB414"/>
    </a:custClr>
    <a:custClr name="Siemens Stone (4)">
      <a:srgbClr val="BECDD7"/>
    </a:custClr>
    <a:custClr name="Siemens Sand (4)">
      <a:srgbClr val="D7D7CD"/>
    </a:custClr>
    <a:custClr name="Siemens Natural Gray (4)">
      <a:srgbClr val="7D8791"/>
    </a:custClr>
    <a:custClr name="Siemens Natural Yellow (4)">
      <a:srgbClr val="FFB900"/>
    </a:custClr>
    <a:custClr name="Siemens Natural Red (4)">
      <a:srgbClr val="AF235F"/>
    </a:custClr>
    <a:custClr name="Siemens Natural Blue (4)">
      <a:srgbClr val="55A0B9"/>
    </a:custClr>
    <a:custClr name="Siemens Natural Green (4)">
      <a:srgbClr val="AAB414"/>
    </a:custClr>
    <a:custClr name="Siemens Sand (30%)">
      <a:srgbClr val="D7D7CD"/>
    </a:custClr>
    <a:custClr name="Siemens Natural Gray (dark)">
      <a:srgbClr val="0F1923"/>
    </a:custClr>
    <a:custClr name="Siemens Natural Gray (light)">
      <a:srgbClr val="505A64"/>
    </a:custClr>
    <a:custClr name="Siemens Stone (5)">
      <a:srgbClr val="DFE6ED"/>
    </a:custClr>
    <a:custClr name="Siemens Sand (5)">
      <a:srgbClr val="EBEBE3"/>
    </a:custClr>
    <a:custClr name="Siemens Natural Gray (5)">
      <a:srgbClr val="AFB9C3"/>
    </a:custClr>
    <a:custClr name="Siemens Natural Yellow (5)">
      <a:srgbClr val="FFE178"/>
    </a:custClr>
    <a:custClr name="Siemens Natural Red (5)">
      <a:srgbClr val="D7698C"/>
    </a:custClr>
    <a:custClr name="Siemens Natural Blue(5)">
      <a:srgbClr val="8CC3D2"/>
    </a:custClr>
    <a:custClr name="Siemens Natural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Natural Yellow (dark)">
      <a:srgbClr val="EB780A"/>
    </a:custClr>
    <a:custClr name="Siemens Yellow (light)">
      <a:srgbClr val="FFB900"/>
    </a:custClr>
    <a:custClr name="Siemens Stone (1)">
      <a:srgbClr val="506473"/>
    </a:custClr>
    <a:custClr name="Siemens Sand (1)">
      <a:srgbClr val="827F64"/>
    </a:custClr>
    <a:custClr name="Siemens Natural Gray (1)">
      <a:srgbClr val="0F1923"/>
    </a:custClr>
    <a:custClr name="Siemens Natural Yellow (1)">
      <a:srgbClr val="7D2D1E"/>
    </a:custClr>
    <a:custClr name="Siemens Natural Red (1)">
      <a:srgbClr val="411432"/>
    </a:custClr>
    <a:custClr name="Siemens Natural Blue (1)">
      <a:srgbClr val="004664"/>
    </a:custClr>
    <a:custClr name="Siemens Natural Green (1)">
      <a:srgbClr val="465F19"/>
    </a:custClr>
    <a:custClr name="True Black">
      <a:srgbClr val="000000"/>
    </a:custClr>
    <a:custClr name="Siemens Natural Red (dark)">
      <a:srgbClr val="641946"/>
    </a:custClr>
    <a:custClr name="Siemens Red Light">
      <a:srgbClr val="AF235F"/>
    </a:custClr>
    <a:custClr name="Siemens Stone (2)">
      <a:srgbClr val="879BAA"/>
    </a:custClr>
    <a:custClr name="Siemens Sand (2)">
      <a:srgbClr val="AAAA96"/>
    </a:custClr>
    <a:custClr name="Siemens Natural Gray (2)">
      <a:srgbClr val="323C46"/>
    </a:custClr>
    <a:custClr name="Siemens Natural Yellow (2)">
      <a:srgbClr val="C85A1E"/>
    </a:custClr>
    <a:custClr name="Siemens Natural Red (2)">
      <a:srgbClr val="641946"/>
    </a:custClr>
    <a:custClr name="Siemens Natural Blue (2)">
      <a:srgbClr val="006487"/>
    </a:custClr>
    <a:custClr name="Siemens Natural Green (2)">
      <a:srgbClr val="647D2D"/>
    </a:custClr>
    <a:custClr name="Siemens Stone (100%)">
      <a:srgbClr val="879BAA"/>
    </a:custClr>
    <a:custClr name="Siemens Natural Blue (dark)">
      <a:srgbClr val="006487"/>
    </a:custClr>
    <a:custClr name="Siemens Natural Blue (light)">
      <a:srgbClr val="55A0B9"/>
    </a:custClr>
    <a:custClr name="Siemens Stone (3)">
      <a:srgbClr val="9BAFBE"/>
    </a:custClr>
    <a:custClr name="Siemens Sand (3)">
      <a:srgbClr val="C8C8B9"/>
    </a:custClr>
    <a:custClr name="Siemens Natural Gray (3)">
      <a:srgbClr val="505A64"/>
    </a:custClr>
    <a:custClr name="Siemens Natural Yellow (3)">
      <a:srgbClr val="EB780A"/>
    </a:custClr>
    <a:custClr name="Siemens Natural Red (3)">
      <a:srgbClr val="871E50"/>
    </a:custClr>
    <a:custClr name="Siemens Natural Blue (3)">
      <a:srgbClr val="2882A0"/>
    </a:custClr>
    <a:custClr name="Siemens Natural Green (3)">
      <a:srgbClr val="879628"/>
    </a:custClr>
    <a:custClr name="Siemens Stone (30%)">
      <a:srgbClr val="BECDD7"/>
    </a:custClr>
    <a:custClr name="Siemens Natural Green">
      <a:srgbClr val="647D2D"/>
    </a:custClr>
    <a:custClr name="Siemens Natural Green (light)">
      <a:srgbClr val="AAB414"/>
    </a:custClr>
    <a:custClr name="Siemens Stone (4)">
      <a:srgbClr val="BECDD7"/>
    </a:custClr>
    <a:custClr name="Siemens Sand (4)">
      <a:srgbClr val="D7D7CD"/>
    </a:custClr>
    <a:custClr name="Siemens Natural Gray (4)">
      <a:srgbClr val="7D8791"/>
    </a:custClr>
    <a:custClr name="Siemens Natural Yellow (4)">
      <a:srgbClr val="FFB900"/>
    </a:custClr>
    <a:custClr name="Siemens Natural Red (4)">
      <a:srgbClr val="AF235F"/>
    </a:custClr>
    <a:custClr name="Siemens Natural Blue (4)">
      <a:srgbClr val="55A0B9"/>
    </a:custClr>
    <a:custClr name="Siemens Natural Green (4)">
      <a:srgbClr val="AAB414"/>
    </a:custClr>
    <a:custClr name="Siemens Sand (30%)">
      <a:srgbClr val="D7D7CD"/>
    </a:custClr>
    <a:custClr name="Siemens Natural Gray (dark)">
      <a:srgbClr val="0F1923"/>
    </a:custClr>
    <a:custClr name="Siemens Natural Gray (light)">
      <a:srgbClr val="505A64"/>
    </a:custClr>
    <a:custClr name="Siemens Stone (5)">
      <a:srgbClr val="DFE6ED"/>
    </a:custClr>
    <a:custClr name="Siemens Sand (5)">
      <a:srgbClr val="EBEBE3"/>
    </a:custClr>
    <a:custClr name="Siemens Natural Gray (5)">
      <a:srgbClr val="AFB9C3"/>
    </a:custClr>
    <a:custClr name="Siemens Natural Yellow (5)">
      <a:srgbClr val="FFE178"/>
    </a:custClr>
    <a:custClr name="Siemens Natural Red (5)">
      <a:srgbClr val="D7698C"/>
    </a:custClr>
    <a:custClr name="Siemens Natural Blue(5)">
      <a:srgbClr val="8CC3D2"/>
    </a:custClr>
    <a:custClr name="Siemens Natural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Natural Yellow (dark)">
      <a:srgbClr val="EB780A"/>
    </a:custClr>
    <a:custClr name="Siemens Yellow (light)">
      <a:srgbClr val="FFB900"/>
    </a:custClr>
    <a:custClr name="Siemens Stone (1)">
      <a:srgbClr val="506473"/>
    </a:custClr>
    <a:custClr name="Siemens Sand (1)">
      <a:srgbClr val="827F64"/>
    </a:custClr>
    <a:custClr name="Siemens Natural Gray (1)">
      <a:srgbClr val="0F1923"/>
    </a:custClr>
    <a:custClr name="Siemens Natural Yellow (1)">
      <a:srgbClr val="7D2D1E"/>
    </a:custClr>
    <a:custClr name="Siemens Natural Red (1)">
      <a:srgbClr val="411432"/>
    </a:custClr>
    <a:custClr name="Siemens Natural Blue (1)">
      <a:srgbClr val="004664"/>
    </a:custClr>
    <a:custClr name="Siemens Natural Green (1)">
      <a:srgbClr val="465F19"/>
    </a:custClr>
    <a:custClr name="True Black">
      <a:srgbClr val="000000"/>
    </a:custClr>
    <a:custClr name="Siemens Natural Red (dark)">
      <a:srgbClr val="641946"/>
    </a:custClr>
    <a:custClr name="Siemens Red Light">
      <a:srgbClr val="AF235F"/>
    </a:custClr>
    <a:custClr name="Siemens Stone (2)">
      <a:srgbClr val="879BAA"/>
    </a:custClr>
    <a:custClr name="Siemens Sand (2)">
      <a:srgbClr val="AAAA96"/>
    </a:custClr>
    <a:custClr name="Siemens Natural Gray (2)">
      <a:srgbClr val="323C46"/>
    </a:custClr>
    <a:custClr name="Siemens Natural Yellow (2)">
      <a:srgbClr val="C85A1E"/>
    </a:custClr>
    <a:custClr name="Siemens Natural Red (2)">
      <a:srgbClr val="641946"/>
    </a:custClr>
    <a:custClr name="Siemens Natural Blue (2)">
      <a:srgbClr val="006487"/>
    </a:custClr>
    <a:custClr name="Siemens Natural Green (2)">
      <a:srgbClr val="647D2D"/>
    </a:custClr>
    <a:custClr name="Siemens Stone (100%)">
      <a:srgbClr val="879BAA"/>
    </a:custClr>
    <a:custClr name="Siemens Natural Blue (dark)">
      <a:srgbClr val="006487"/>
    </a:custClr>
    <a:custClr name="Siemens Natural Blue (light)">
      <a:srgbClr val="55A0B9"/>
    </a:custClr>
    <a:custClr name="Siemens Stone (3)">
      <a:srgbClr val="9BAFBE"/>
    </a:custClr>
    <a:custClr name="Siemens Sand (3)">
      <a:srgbClr val="C8C8B9"/>
    </a:custClr>
    <a:custClr name="Siemens Natural Gray (3)">
      <a:srgbClr val="505A64"/>
    </a:custClr>
    <a:custClr name="Siemens Natural Yellow (3)">
      <a:srgbClr val="EB780A"/>
    </a:custClr>
    <a:custClr name="Siemens Natural Red (3)">
      <a:srgbClr val="871E50"/>
    </a:custClr>
    <a:custClr name="Siemens Natural Blue (3)">
      <a:srgbClr val="2882A0"/>
    </a:custClr>
    <a:custClr name="Siemens Natural Green (3)">
      <a:srgbClr val="879628"/>
    </a:custClr>
    <a:custClr name="Siemens Stone (30%)">
      <a:srgbClr val="BECDD7"/>
    </a:custClr>
    <a:custClr name="Siemens Natural Green">
      <a:srgbClr val="647D2D"/>
    </a:custClr>
    <a:custClr name="Siemens Natural Green (light)">
      <a:srgbClr val="AAB414"/>
    </a:custClr>
    <a:custClr name="Siemens Stone (4)">
      <a:srgbClr val="BECDD7"/>
    </a:custClr>
    <a:custClr name="Siemens Sand (4)">
      <a:srgbClr val="D7D7CD"/>
    </a:custClr>
    <a:custClr name="Siemens Natural Gray (4)">
      <a:srgbClr val="7D8791"/>
    </a:custClr>
    <a:custClr name="Siemens Natural Yellow (4)">
      <a:srgbClr val="FFB900"/>
    </a:custClr>
    <a:custClr name="Siemens Natural Red (4)">
      <a:srgbClr val="AF235F"/>
    </a:custClr>
    <a:custClr name="Siemens Natural Blue (4)">
      <a:srgbClr val="55A0B9"/>
    </a:custClr>
    <a:custClr name="Siemens Natural Green (4)">
      <a:srgbClr val="AAB414"/>
    </a:custClr>
    <a:custClr name="Siemens Sand (30%)">
      <a:srgbClr val="D7D7CD"/>
    </a:custClr>
    <a:custClr name="Siemens Natural Gray (dark)">
      <a:srgbClr val="0F1923"/>
    </a:custClr>
    <a:custClr name="Siemens Natural Gray (light)">
      <a:srgbClr val="505A64"/>
    </a:custClr>
    <a:custClr name="Siemens Stone (5)">
      <a:srgbClr val="DFE6ED"/>
    </a:custClr>
    <a:custClr name="Siemens Sand (5)">
      <a:srgbClr val="EBEBE3"/>
    </a:custClr>
    <a:custClr name="Siemens Natural Gray (5)">
      <a:srgbClr val="AFB9C3"/>
    </a:custClr>
    <a:custClr name="Siemens Natural Yellow (5)">
      <a:srgbClr val="FFE178"/>
    </a:custClr>
    <a:custClr name="Siemens Natural Red (5)">
      <a:srgbClr val="D7698C"/>
    </a:custClr>
    <a:custClr name="Siemens Natural Blue(5)">
      <a:srgbClr val="8CC3D2"/>
    </a:custClr>
    <a:custClr name="Siemens Natural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itle (big bar up)</Name>
  <PpLayout>1</PpLayout>
  <Index>2</Index>
</p4ppTags>
</file>

<file path=customXml/item10.xml><?xml version="1.0" encoding="utf-8"?>
<p4ppTags>
  <Name>Image + Index/Contact</Name>
  <PpLayout>32</PpLayout>
  <Index>7</Index>
</p4ppTags>
</file>

<file path=customXml/item11.xml><?xml version="1.0" encoding="utf-8"?>
<p4ppTags>
  <Name>Two columns</Name>
  <PpLayout>29</PpLayout>
  <Index>12</Index>
</p4ppTags>
</file>

<file path=customXml/item12.xml><?xml version="1.0" encoding="utf-8"?>
<p4ppTags>
  <Name>Two rows</Name>
  <PpLayout>32</PpLayout>
  <Index>13</Index>
</p4ppTags>
</file>

<file path=customXml/item13.xml><?xml version="1.0" encoding="utf-8"?>
<p4ppTags>
  <Name>Four objects + Navigation</Name>
  <PpLayout>32</PpLayout>
  <Index>22</Index>
</p4ppTags>
</file>

<file path=customXml/item14.xml><?xml version="1.0" encoding="utf-8"?>
<p4ppTags>
  <Name>Four objects</Name>
  <PpLayout>24</PpLayout>
  <Index>15</Index>
</p4ppTags>
</file>

<file path=customXml/item15.xml><?xml version="1.0" encoding="utf-8"?>
<p4ppTags>
  <Name>Chapter title (big bar up)</Name>
  <PpLayout>1</PpLayout>
  <Index>6</Index>
</p4ppTags>
</file>

<file path=customXml/item16.xml><?xml version="1.0" encoding="utf-8"?>
<p4ppTags>
  <Name>Three columns + Navigation</Name>
  <PpLayout>32</PpLayout>
  <Index>20</Index>
</p4ppTags>
</file>

<file path=customXml/item17.xml><?xml version="1.0" encoding="utf-8"?>
<p4ppTags>
  <Name>Title fullscreen (big bar up)</Name>
  <PpLayout>1</PpLayout>
  <Index>4</Index>
</p4ppTags>
</file>

<file path=customXml/item18.xml><?xml version="1.0" encoding="utf-8"?>
<p4ppTags>
  <Name>Text + Index</Name>
  <PpLayout>32</PpLayout>
  <Index>8</Index>
</p4ppTags>
</file>

<file path=customXml/item19.xml><?xml version="1.0" encoding="utf-8"?>
<p4ppTags>
  <Name>Free Content</Name>
  <PpLayout>11</PpLayout>
  <Index>9</Index>
</p4ppTags>
</file>

<file path=customXml/item2.xml><?xml version="1.0" encoding="utf-8"?>
<p4ppTags>
  <Name>Title (big bar down)</Name>
  <PpLayout>1</PpLayout>
  <Index>1</Index>
</p4ppTags>
</file>

<file path=customXml/item20.xml><?xml version="1.0" encoding="utf-8"?>
<p4ppTags>
  <Name>Title fullscreen (big bar down)</Name>
  <PpLayout>1</PpLayout>
  <Index>3</Index>
</p4ppTags>
</file>

<file path=customXml/item21.xml><?xml version="1.0" encoding="utf-8"?>
<p4ppTags>
  <Name>Two rows + Navigation</Name>
  <PpLayout>32</PpLayout>
  <Index>21</Index>
</p4ppTags>
</file>

<file path=customXml/item22.xml><?xml version="1.0" encoding="utf-8"?>
<p4ppTags>
  <Name>Chapter title (big bar down)</Name>
  <PpLayout>1</PpLayout>
  <Index>5</Index>
</p4ppTags>
</file>

<file path=customXml/item23.xml><?xml version="1.0" encoding="utf-8"?>
<p4ppTags>
  <Name>Free Content + Navigation</Name>
  <PpLayout>32</PpLayout>
  <Index>16</Index>
</p4ppTags>
</file>

<file path=customXml/item3.xml><?xml version="1.0" encoding="utf-8"?>
<p4ppTags>
  <Name>One object (small)</Name>
  <PpLayout>16</PpLayout>
  <Index>11</Index>
</p4ppTags>
</file>

<file path=customXml/item4.xml><?xml version="1.0" encoding="utf-8"?>
<p4ppTags/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Three columns</Name>
  <PpLayout>32</PpLayout>
  <Index>14</Index>
</p4ppTags>
</file>

<file path=customXml/item7.xml><?xml version="1.0" encoding="utf-8"?>
<p4ppTags>
  <Name>One object (small) + Navigation</Name>
  <PpLayout>32</PpLayout>
  <Index>18</Index>
</p4ppTags>
</file>

<file path=customXml/item8.xml><?xml version="1.0" encoding="utf-8"?>
<p4ppTags>
  <Name>One object (large) + Navigation</Name>
  <PpLayout>32</PpLayout>
  <Index>17</Index>
</p4ppTag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B893464B-AF76-49EA-968D-6744BB7C6C36}">
  <ds:schemaRefs/>
</ds:datastoreItem>
</file>

<file path=customXml/itemProps10.xml><?xml version="1.0" encoding="utf-8"?>
<ds:datastoreItem xmlns:ds="http://schemas.openxmlformats.org/officeDocument/2006/customXml" ds:itemID="{17E2436E-C9A9-41F0-BD4E-B0231726090B}">
  <ds:schemaRefs/>
</ds:datastoreItem>
</file>

<file path=customXml/itemProps11.xml><?xml version="1.0" encoding="utf-8"?>
<ds:datastoreItem xmlns:ds="http://schemas.openxmlformats.org/officeDocument/2006/customXml" ds:itemID="{1666F4C2-68F5-4840-A44A-1A646C0925A1}">
  <ds:schemaRefs/>
</ds:datastoreItem>
</file>

<file path=customXml/itemProps12.xml><?xml version="1.0" encoding="utf-8"?>
<ds:datastoreItem xmlns:ds="http://schemas.openxmlformats.org/officeDocument/2006/customXml" ds:itemID="{38AB8DE4-FD9B-4166-BEC3-3F1753596133}">
  <ds:schemaRefs/>
</ds:datastoreItem>
</file>

<file path=customXml/itemProps13.xml><?xml version="1.0" encoding="utf-8"?>
<ds:datastoreItem xmlns:ds="http://schemas.openxmlformats.org/officeDocument/2006/customXml" ds:itemID="{EAB520BC-C6EC-457E-8AB5-55DB67C86858}">
  <ds:schemaRefs/>
</ds:datastoreItem>
</file>

<file path=customXml/itemProps14.xml><?xml version="1.0" encoding="utf-8"?>
<ds:datastoreItem xmlns:ds="http://schemas.openxmlformats.org/officeDocument/2006/customXml" ds:itemID="{1581BFFB-B4CE-47A8-BE77-DC1339B1E5A7}">
  <ds:schemaRefs/>
</ds:datastoreItem>
</file>

<file path=customXml/itemProps15.xml><?xml version="1.0" encoding="utf-8"?>
<ds:datastoreItem xmlns:ds="http://schemas.openxmlformats.org/officeDocument/2006/customXml" ds:itemID="{F0D32D62-F16D-41E9-A11D-FC8705C261B2}">
  <ds:schemaRefs/>
</ds:datastoreItem>
</file>

<file path=customXml/itemProps16.xml><?xml version="1.0" encoding="utf-8"?>
<ds:datastoreItem xmlns:ds="http://schemas.openxmlformats.org/officeDocument/2006/customXml" ds:itemID="{85D77EE6-52B7-48BE-9EDB-748F1EBB53DE}">
  <ds:schemaRefs/>
</ds:datastoreItem>
</file>

<file path=customXml/itemProps17.xml><?xml version="1.0" encoding="utf-8"?>
<ds:datastoreItem xmlns:ds="http://schemas.openxmlformats.org/officeDocument/2006/customXml" ds:itemID="{5BC22A60-C0AD-4D52-8959-760F0772AFDD}">
  <ds:schemaRefs/>
</ds:datastoreItem>
</file>

<file path=customXml/itemProps18.xml><?xml version="1.0" encoding="utf-8"?>
<ds:datastoreItem xmlns:ds="http://schemas.openxmlformats.org/officeDocument/2006/customXml" ds:itemID="{7E35FEDB-1F0E-4D67-A313-4AC59C26FF29}">
  <ds:schemaRefs/>
</ds:datastoreItem>
</file>

<file path=customXml/itemProps19.xml><?xml version="1.0" encoding="utf-8"?>
<ds:datastoreItem xmlns:ds="http://schemas.openxmlformats.org/officeDocument/2006/customXml" ds:itemID="{D8097D0C-BE3E-4AEC-9593-65CFCCB19297}">
  <ds:schemaRefs/>
</ds:datastoreItem>
</file>

<file path=customXml/itemProps2.xml><?xml version="1.0" encoding="utf-8"?>
<ds:datastoreItem xmlns:ds="http://schemas.openxmlformats.org/officeDocument/2006/customXml" ds:itemID="{127E6BAF-936F-4264-ABFD-08FF377322FF}">
  <ds:schemaRefs/>
</ds:datastoreItem>
</file>

<file path=customXml/itemProps20.xml><?xml version="1.0" encoding="utf-8"?>
<ds:datastoreItem xmlns:ds="http://schemas.openxmlformats.org/officeDocument/2006/customXml" ds:itemID="{ACF78F0D-713B-46D3-8FAD-6E70E92EC862}">
  <ds:schemaRefs/>
</ds:datastoreItem>
</file>

<file path=customXml/itemProps21.xml><?xml version="1.0" encoding="utf-8"?>
<ds:datastoreItem xmlns:ds="http://schemas.openxmlformats.org/officeDocument/2006/customXml" ds:itemID="{6C79E4F8-DCFB-483C-880A-AEEC6AAFC838}">
  <ds:schemaRefs/>
</ds:datastoreItem>
</file>

<file path=customXml/itemProps22.xml><?xml version="1.0" encoding="utf-8"?>
<ds:datastoreItem xmlns:ds="http://schemas.openxmlformats.org/officeDocument/2006/customXml" ds:itemID="{AB7EE923-C3FC-4B3A-A4A4-5156CA0884C8}">
  <ds:schemaRefs/>
</ds:datastoreItem>
</file>

<file path=customXml/itemProps23.xml><?xml version="1.0" encoding="utf-8"?>
<ds:datastoreItem xmlns:ds="http://schemas.openxmlformats.org/officeDocument/2006/customXml" ds:itemID="{7CC5F709-E74B-4E5F-A728-923D5062EBEF}">
  <ds:schemaRefs/>
</ds:datastoreItem>
</file>

<file path=customXml/itemProps3.xml><?xml version="1.0" encoding="utf-8"?>
<ds:datastoreItem xmlns:ds="http://schemas.openxmlformats.org/officeDocument/2006/customXml" ds:itemID="{1618AA06-B22E-4D19-9680-0D7830426729}">
  <ds:schemaRefs/>
</ds:datastoreItem>
</file>

<file path=customXml/itemProps4.xml><?xml version="1.0" encoding="utf-8"?>
<ds:datastoreItem xmlns:ds="http://schemas.openxmlformats.org/officeDocument/2006/customXml" ds:itemID="{572FBA73-6DBF-45DA-8282-9342320CFAB0}">
  <ds:schemaRefs/>
</ds:datastoreItem>
</file>

<file path=customXml/itemProps5.xml><?xml version="1.0" encoding="utf-8"?>
<ds:datastoreItem xmlns:ds="http://schemas.openxmlformats.org/officeDocument/2006/customXml" ds:itemID="{80661B8B-A327-44F9-823B-4D9EE0B3EC78}">
  <ds:schemaRefs/>
</ds:datastoreItem>
</file>

<file path=customXml/itemProps6.xml><?xml version="1.0" encoding="utf-8"?>
<ds:datastoreItem xmlns:ds="http://schemas.openxmlformats.org/officeDocument/2006/customXml" ds:itemID="{15CF3461-70D1-4B54-AFAB-DAFDA0A238CD}">
  <ds:schemaRefs/>
</ds:datastoreItem>
</file>

<file path=customXml/itemProps7.xml><?xml version="1.0" encoding="utf-8"?>
<ds:datastoreItem xmlns:ds="http://schemas.openxmlformats.org/officeDocument/2006/customXml" ds:itemID="{D9FE249F-833E-4CF0-BECB-552D01D7DC9E}">
  <ds:schemaRefs/>
</ds:datastoreItem>
</file>

<file path=customXml/itemProps8.xml><?xml version="1.0" encoding="utf-8"?>
<ds:datastoreItem xmlns:ds="http://schemas.openxmlformats.org/officeDocument/2006/customXml" ds:itemID="{B27F640E-84DF-4F97-BC70-D045F1E6594F}">
  <ds:schemaRefs/>
</ds:datastoreItem>
</file>

<file path=customXml/itemProps9.xml><?xml version="1.0" encoding="utf-8"?>
<ds:datastoreItem xmlns:ds="http://schemas.openxmlformats.org/officeDocument/2006/customXml" ds:itemID="{D7BABA95-BFFE-422B-8591-3271669EEA8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374</Words>
  <Application>Microsoft Office PowerPoint</Application>
  <PresentationFormat>Personnalisé</PresentationFormat>
  <Paragraphs>99</Paragraphs>
  <Slides>13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3</vt:i4>
      </vt:variant>
    </vt:vector>
  </HeadingPairs>
  <TitlesOfParts>
    <vt:vector size="20" baseType="lpstr">
      <vt:lpstr>Arial</vt:lpstr>
      <vt:lpstr>Wingdings</vt:lpstr>
      <vt:lpstr>ＭＳ Ｐゴシック</vt:lpstr>
      <vt:lpstr>ヒラギノ角ゴ Pro W3</vt:lpstr>
      <vt:lpstr>Siemens 2013 – 16:9</vt:lpstr>
      <vt:lpstr>think-cell Folie</vt:lpstr>
      <vt:lpstr>think-cell Slide</vt:lpstr>
      <vt:lpstr>La numérisation :  plus qu’une simple technologie  Stéphane Chayer I Montréal, 7 avril 2017</vt:lpstr>
      <vt:lpstr>La numérisation touche tous les aspects de la vie</vt:lpstr>
      <vt:lpstr>Présentation PowerPoint</vt:lpstr>
      <vt:lpstr>Présentation PowerPoint</vt:lpstr>
      <vt:lpstr>Présentation PowerPoint</vt:lpstr>
      <vt:lpstr>La numérisation est  aussi une question de main d’oeuvre</vt:lpstr>
      <vt:lpstr>La main-d’œuvre de l’avenir rendra possible la numérisation</vt:lpstr>
      <vt:lpstr>Industrie 4.0 : Reconnaître et combler les écarts  en matière de compétences au sein de nos effectifs</vt:lpstr>
      <vt:lpstr> Repenser les méthodes</vt:lpstr>
      <vt:lpstr>La chasse à la compétitivité</vt:lpstr>
      <vt:lpstr>L’innovation ouverte est la nouvelle normalité</vt:lpstr>
      <vt:lpstr>Nous avons la chance de façonner l’avenir...</vt:lpstr>
      <vt:lpstr>Merci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Digitalization Day - Janina Kugel</dc:title>
  <dc:creator>Annette Häfelinger;Henning Kanemann</dc:creator>
  <cp:lastModifiedBy>Chacon, Emilie</cp:lastModifiedBy>
  <cp:revision>914</cp:revision>
  <cp:lastPrinted>2017-04-03T15:31:20Z</cp:lastPrinted>
  <dcterms:created xsi:type="dcterms:W3CDTF">2006-04-07T10:01:45Z</dcterms:created>
  <dcterms:modified xsi:type="dcterms:W3CDTF">2017-04-12T15:50:04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_AdHocReviewCycleID">
    <vt:i4>529321279</vt:i4>
  </property>
  <property fmtid="{D5CDD505-2E9C-101B-9397-08002B2CF9AE}" pid="7" name="_NewReviewCycle">
    <vt:lpwstr/>
  </property>
  <property fmtid="{D5CDD505-2E9C-101B-9397-08002B2CF9AE}" pid="8" name="_EmailSubject">
    <vt:lpwstr>French translation of SC presentation</vt:lpwstr>
  </property>
  <property fmtid="{D5CDD505-2E9C-101B-9397-08002B2CF9AE}" pid="9" name="_AuthorEmail">
    <vt:lpwstr>laura.heidbuechel@siemens.com</vt:lpwstr>
  </property>
  <property fmtid="{D5CDD505-2E9C-101B-9397-08002B2CF9AE}" pid="10" name="_AuthorEmailDisplayName">
    <vt:lpwstr>HEIDBUECHEL, LAURA (CC AM RC-CA EI)</vt:lpwstr>
  </property>
  <property fmtid="{D5CDD505-2E9C-101B-9397-08002B2CF9AE}" pid="11" name="_PreviousAdHocReviewCycleID">
    <vt:i4>841339235</vt:i4>
  </property>
</Properties>
</file>